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7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8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9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0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1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2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6.xml" ContentType="application/vnd.openxmlformats-officedocument.theme+xml"/>
  <Override PartName="/ppt/tags/tag1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8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9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0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21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22.xml" ContentType="application/vnd.openxmlformats-officedocument.theme+xml"/>
  <Override PartName="/ppt/tags/tag22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24.xml" ContentType="application/vnd.openxmlformats-officedocument.theme+xml"/>
  <Override PartName="/ppt/tags/tag26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5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6.xml" ContentType="application/vnd.openxmlformats-officedocument.theme+xml"/>
  <Override PartName="/ppt/tags/tag29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27.xml" ContentType="application/vnd.openxmlformats-officedocument.theme+xml"/>
  <Override PartName="/ppt/theme/theme28.xml" ContentType="application/vnd.openxmlformats-officedocument.theme+xml"/>
  <Override PartName="/ppt/theme/theme2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8" r:id="rId4"/>
    <p:sldMasterId id="2147483732" r:id="rId5"/>
    <p:sldMasterId id="2147483714" r:id="rId6"/>
    <p:sldMasterId id="2147483674" r:id="rId7"/>
    <p:sldMasterId id="2147483690" r:id="rId8"/>
    <p:sldMasterId id="2147483696" r:id="rId9"/>
    <p:sldMasterId id="2147483702" r:id="rId10"/>
    <p:sldMasterId id="2147483708" r:id="rId11"/>
    <p:sldMasterId id="2147483736" r:id="rId12"/>
    <p:sldMasterId id="2147484147" r:id="rId13"/>
    <p:sldMasterId id="2147483759" r:id="rId14"/>
    <p:sldMasterId id="2147483763" r:id="rId15"/>
    <p:sldMasterId id="2147483775" r:id="rId16"/>
    <p:sldMasterId id="2147483780" r:id="rId17"/>
    <p:sldMasterId id="2147483785" r:id="rId18"/>
    <p:sldMasterId id="2147483790" r:id="rId19"/>
    <p:sldMasterId id="2147483794" r:id="rId20"/>
    <p:sldMasterId id="2147483803" r:id="rId21"/>
    <p:sldMasterId id="2147483875" r:id="rId22"/>
    <p:sldMasterId id="2147483900" r:id="rId23"/>
    <p:sldMasterId id="2147483903" r:id="rId24"/>
    <p:sldMasterId id="2147483977" r:id="rId25"/>
    <p:sldMasterId id="2147483985" r:id="rId26"/>
    <p:sldMasterId id="2147484014" r:id="rId27"/>
    <p:sldMasterId id="2147484019" r:id="rId28"/>
    <p:sldMasterId id="2147484022" r:id="rId29"/>
    <p:sldMasterId id="2147484025" r:id="rId30"/>
  </p:sldMasterIdLst>
  <p:notesMasterIdLst>
    <p:notesMasterId r:id="rId33"/>
  </p:notesMasterIdLst>
  <p:handoutMasterIdLst>
    <p:handoutMasterId r:id="rId34"/>
  </p:handoutMasterIdLst>
  <p:sldIdLst>
    <p:sldId id="550" r:id="rId31"/>
    <p:sldId id="561" r:id="rId32"/>
  </p:sldIdLst>
  <p:sldSz cx="9144000" cy="5143500" type="screen16x9"/>
  <p:notesSz cx="6858000" cy="994568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62">
          <p15:clr>
            <a:srgbClr val="A4A3A4"/>
          </p15:clr>
        </p15:guide>
        <p15:guide id="2" orient="horz" pos="2875">
          <p15:clr>
            <a:srgbClr val="A4A3A4"/>
          </p15:clr>
        </p15:guide>
        <p15:guide id="3" pos="159">
          <p15:clr>
            <a:srgbClr val="A4A3A4"/>
          </p15:clr>
        </p15:guide>
        <p15:guide id="4" pos="5602">
          <p15:clr>
            <a:srgbClr val="A4A3A4"/>
          </p15:clr>
        </p15:guide>
        <p15:guide id="5" pos="2422">
          <p15:clr>
            <a:srgbClr val="A4A3A4"/>
          </p15:clr>
        </p15:guide>
        <p15:guide id="6" pos="255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 userDrawn="1">
          <p15:clr>
            <a:srgbClr val="A4A3A4"/>
          </p15:clr>
        </p15:guide>
        <p15:guide id="2" pos="216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3399FF"/>
    <a:srgbClr val="008000"/>
    <a:srgbClr val="009900"/>
    <a:srgbClr val="0033CC"/>
    <a:srgbClr val="0000FF"/>
    <a:srgbClr val="D9D6FE"/>
    <a:srgbClr val="0066FF"/>
    <a:srgbClr val="CC6600"/>
    <a:srgbClr val="EAE8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A111915-BE36-4E01-A7E5-04B1672EAD32}" styleName="淡色スタイル 2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77" autoAdjust="0"/>
    <p:restoredTop sz="94424" autoAdjust="0"/>
  </p:normalViewPr>
  <p:slideViewPr>
    <p:cSldViewPr snapToGrid="0" showGuides="1">
      <p:cViewPr varScale="1">
        <p:scale>
          <a:sx n="114" d="100"/>
          <a:sy n="114" d="100"/>
        </p:scale>
        <p:origin x="102" y="510"/>
      </p:cViewPr>
      <p:guideLst>
        <p:guide orient="horz" pos="762"/>
        <p:guide orient="horz" pos="2875"/>
        <p:guide pos="159"/>
        <p:guide pos="5602"/>
        <p:guide pos="2422"/>
        <p:guide pos="255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-2580"/>
    </p:cViewPr>
  </p:sorterViewPr>
  <p:notesViewPr>
    <p:cSldViewPr snapToGrid="0">
      <p:cViewPr varScale="1">
        <p:scale>
          <a:sx n="70" d="100"/>
          <a:sy n="70" d="100"/>
        </p:scale>
        <p:origin x="-2814" y="-90"/>
      </p:cViewPr>
      <p:guideLst>
        <p:guide orient="horz" pos="3133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2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971800" cy="497284"/>
          </a:xfrm>
          <a:prstGeom prst="rect">
            <a:avLst/>
          </a:prstGeom>
        </p:spPr>
        <p:txBody>
          <a:bodyPr vert="horz" lIns="92473" tIns="46237" rIns="92473" bIns="46237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4"/>
            <a:ext cx="2971800" cy="497284"/>
          </a:xfrm>
          <a:prstGeom prst="rect">
            <a:avLst/>
          </a:prstGeom>
        </p:spPr>
        <p:txBody>
          <a:bodyPr vert="horz" lIns="92473" tIns="46237" rIns="92473" bIns="46237" rtlCol="0"/>
          <a:lstStyle>
            <a:lvl1pPr algn="r">
              <a:defRPr sz="1200"/>
            </a:lvl1pPr>
          </a:lstStyle>
          <a:p>
            <a:fld id="{B979E499-3462-4300-B1E9-027CB974415F}" type="datetimeFigureOut">
              <a:rPr lang="en-GB" smtClean="0"/>
              <a:t>12/08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6681"/>
            <a:ext cx="2971800" cy="497284"/>
          </a:xfrm>
          <a:prstGeom prst="rect">
            <a:avLst/>
          </a:prstGeom>
        </p:spPr>
        <p:txBody>
          <a:bodyPr vert="horz" lIns="92473" tIns="46237" rIns="92473" bIns="46237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46681"/>
            <a:ext cx="2971800" cy="497284"/>
          </a:xfrm>
          <a:prstGeom prst="rect">
            <a:avLst/>
          </a:prstGeom>
        </p:spPr>
        <p:txBody>
          <a:bodyPr vert="horz" lIns="92473" tIns="46237" rIns="92473" bIns="46237" rtlCol="0" anchor="b"/>
          <a:lstStyle>
            <a:lvl1pPr algn="r">
              <a:defRPr sz="1200"/>
            </a:lvl1pPr>
          </a:lstStyle>
          <a:p>
            <a:fld id="{8498A537-03AF-44A4-97AC-1E04B062716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33286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971800" cy="497284"/>
          </a:xfrm>
          <a:prstGeom prst="rect">
            <a:avLst/>
          </a:prstGeom>
        </p:spPr>
        <p:txBody>
          <a:bodyPr vert="horz" lIns="92473" tIns="46237" rIns="92473" bIns="46237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4"/>
            <a:ext cx="2971800" cy="497284"/>
          </a:xfrm>
          <a:prstGeom prst="rect">
            <a:avLst/>
          </a:prstGeom>
        </p:spPr>
        <p:txBody>
          <a:bodyPr vert="horz" lIns="92473" tIns="46237" rIns="92473" bIns="46237" rtlCol="0"/>
          <a:lstStyle>
            <a:lvl1pPr algn="r">
              <a:defRPr sz="1200"/>
            </a:lvl1pPr>
          </a:lstStyle>
          <a:p>
            <a:fld id="{80407029-D20B-4275-831A-AA861A3366E8}" type="datetimeFigureOut">
              <a:rPr lang="en-GB" smtClean="0"/>
              <a:t>12/08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125" y="744538"/>
            <a:ext cx="6635750" cy="3732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73" tIns="46237" rIns="92473" bIns="46237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24202"/>
            <a:ext cx="5486400" cy="4475559"/>
          </a:xfrm>
          <a:prstGeom prst="rect">
            <a:avLst/>
          </a:prstGeom>
        </p:spPr>
        <p:txBody>
          <a:bodyPr vert="horz" lIns="92473" tIns="46237" rIns="92473" bIns="4623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6681"/>
            <a:ext cx="2971800" cy="497284"/>
          </a:xfrm>
          <a:prstGeom prst="rect">
            <a:avLst/>
          </a:prstGeom>
        </p:spPr>
        <p:txBody>
          <a:bodyPr vert="horz" lIns="92473" tIns="46237" rIns="92473" bIns="46237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46681"/>
            <a:ext cx="2971800" cy="497284"/>
          </a:xfrm>
          <a:prstGeom prst="rect">
            <a:avLst/>
          </a:prstGeom>
        </p:spPr>
        <p:txBody>
          <a:bodyPr vert="horz" lIns="92473" tIns="46237" rIns="92473" bIns="46237" rtlCol="0" anchor="b"/>
          <a:lstStyle>
            <a:lvl1pPr algn="r">
              <a:defRPr sz="1200"/>
            </a:lvl1pPr>
          </a:lstStyle>
          <a:p>
            <a:fld id="{29A93455-E901-4C62-8913-AFDB73D8D16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5235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A93455-E901-4C62-8913-AFDB73D8D16C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9738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A93455-E901-4C62-8913-AFDB73D8D16C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4700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2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ags" Target="../tags/tag2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ags" Target="../tags/tag2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5.xml"/><Relationship Id="rId1" Type="http://schemas.openxmlformats.org/officeDocument/2006/relationships/tags" Target="../tags/tag2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1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20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2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051795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6F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208099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10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96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1" tIns="45702" rIns="91401" bIns="45702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61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 rot="16200000" flipH="1">
            <a:off x="4134644" y="4383414"/>
            <a:ext cx="532767" cy="987409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A31A7E"/>
          </a:solidFill>
          <a:ln>
            <a:noFill/>
          </a:ln>
        </p:spPr>
        <p:txBody>
          <a:bodyPr vert="horz" wrap="square" lIns="91401" tIns="45702" rIns="91401" bIns="45702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813970" y="4692281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7" name="Freeform 16"/>
          <p:cNvSpPr>
            <a:spLocks noChangeAspect="1"/>
          </p:cNvSpPr>
          <p:nvPr userDrawn="1"/>
        </p:nvSpPr>
        <p:spPr bwMode="auto">
          <a:xfrm flipH="1">
            <a:off x="2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01" tIns="45702" rIns="91401" bIns="45702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1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5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David </a:t>
            </a:r>
            <a:r>
              <a:rPr lang="en-US" dirty="0" err="1" smtClean="0"/>
              <a:t>Noton</a:t>
            </a:r>
            <a:r>
              <a:rPr lang="en-US" dirty="0" smtClean="0"/>
              <a:t>. Canon Explorer</a:t>
            </a:r>
            <a:endParaRPr lang="en-GB" dirty="0"/>
          </a:p>
        </p:txBody>
      </p:sp>
      <p:pic>
        <p:nvPicPr>
          <p:cNvPr id="29" name="Picture 28"/>
          <p:cNvPicPr>
            <a:picLocks noChangeAspect="1" noChangeArrowheads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79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5828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5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9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59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59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</p:spTree>
    <p:extLst>
      <p:ext uri="{BB962C8B-B14F-4D97-AF65-F5344CB8AC3E}">
        <p14:creationId xmlns:p14="http://schemas.microsoft.com/office/powerpoint/2010/main" val="1091661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4" y="1209679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1" indent="-133271">
              <a:defRPr lang="en-US" sz="1200" smtClean="0"/>
            </a:lvl2pPr>
            <a:lvl3pPr marL="133271" indent="-133271">
              <a:defRPr lang="en-US" sz="1200" smtClean="0"/>
            </a:lvl3pPr>
            <a:lvl4pPr marL="266541" indent="-85675">
              <a:defRPr lang="en-US" sz="1100" smtClean="0"/>
            </a:lvl4pPr>
            <a:lvl5pPr marL="447412" indent="-88849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4" y="1209679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1" lvl="1" indent="-133271"/>
            <a:r>
              <a:rPr lang="en-US" dirty="0" smtClean="0"/>
              <a:t>Second level</a:t>
            </a:r>
          </a:p>
          <a:p>
            <a:pPr marL="133271" lvl="2" indent="-133271"/>
            <a:r>
              <a:rPr lang="en-US" dirty="0" smtClean="0"/>
              <a:t>Third level</a:t>
            </a:r>
          </a:p>
          <a:p>
            <a:pPr marL="266541" lvl="3" indent="-85675"/>
            <a:r>
              <a:rPr lang="en-US" dirty="0" smtClean="0"/>
              <a:t>Fourth level</a:t>
            </a:r>
          </a:p>
          <a:p>
            <a:pPr marL="447412" lvl="4" indent="-88849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5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10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59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59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</p:spTree>
    <p:extLst>
      <p:ext uri="{BB962C8B-B14F-4D97-AF65-F5344CB8AC3E}">
        <p14:creationId xmlns:p14="http://schemas.microsoft.com/office/powerpoint/2010/main" val="3694643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1" tIns="45702" rIns="91401" bIns="45702" rtlCol="0" anchor="ctr"/>
          <a:lstStyle/>
          <a:p>
            <a:pPr algn="ctr" defTabSz="913859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4" y="395062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4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6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 rot="16200000" flipH="1">
            <a:off x="4134644" y="4383415"/>
            <a:ext cx="532767" cy="987409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A31A7E"/>
          </a:solidFill>
          <a:ln>
            <a:noFill/>
          </a:ln>
        </p:spPr>
        <p:txBody>
          <a:bodyPr vert="horz" wrap="square" lIns="91401" tIns="45702" rIns="91401" bIns="45702" numCol="1" anchor="t" anchorCtr="0" compatLnSpc="1">
            <a:prstTxWarp prst="textNoShape">
              <a:avLst/>
            </a:prstTxWarp>
          </a:bodyPr>
          <a:lstStyle/>
          <a:p>
            <a:pPr defTabSz="913859"/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813970" y="4692281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7" name="Freeform 16"/>
          <p:cNvSpPr>
            <a:spLocks noChangeAspect="1"/>
          </p:cNvSpPr>
          <p:nvPr userDrawn="1"/>
        </p:nvSpPr>
        <p:spPr bwMode="auto">
          <a:xfrm flipH="1">
            <a:off x="3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01" tIns="45702" rIns="91401" bIns="45702" numCol="1" anchor="t" anchorCtr="0" compatLnSpc="1">
            <a:prstTxWarp prst="textNoShape">
              <a:avLst/>
            </a:prstTxWarp>
          </a:bodyPr>
          <a:lstStyle/>
          <a:p>
            <a:pPr defTabSz="913859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2" y="139701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6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David </a:t>
            </a:r>
            <a:r>
              <a:rPr lang="en-US" dirty="0" err="1" smtClean="0"/>
              <a:t>Noton</a:t>
            </a:r>
            <a:r>
              <a:rPr lang="en-US" dirty="0" smtClean="0"/>
              <a:t>. Canon Explorer</a:t>
            </a:r>
            <a:endParaRPr lang="en-GB" dirty="0"/>
          </a:p>
        </p:txBody>
      </p:sp>
      <p:pic>
        <p:nvPicPr>
          <p:cNvPr id="29" name="Picture 28"/>
          <p:cNvPicPr>
            <a:picLocks noChangeAspect="1" noChangeArrowheads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8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2161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834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>
                <a:solidFill>
                  <a:prstClr val="white">
                    <a:lumMod val="50000"/>
                  </a:prstClr>
                </a:solidFill>
              </a:rPr>
              <a:t>R2: Confidential </a:t>
            </a:r>
          </a:p>
        </p:txBody>
      </p:sp>
    </p:spTree>
    <p:extLst>
      <p:ext uri="{BB962C8B-B14F-4D97-AF65-F5344CB8AC3E}">
        <p14:creationId xmlns:p14="http://schemas.microsoft.com/office/powerpoint/2010/main" val="94482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</p:spTree>
    <p:extLst>
      <p:ext uri="{BB962C8B-B14F-4D97-AF65-F5344CB8AC3E}">
        <p14:creationId xmlns:p14="http://schemas.microsoft.com/office/powerpoint/2010/main" val="251777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103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400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F6F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6734230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070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white"/>
                </a:solidFill>
              </a:rPr>
              <a:pPr/>
              <a:t>12/08/2016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4798932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white"/>
                </a:solidFill>
              </a:rPr>
              <a:pPr/>
              <a:t>12/08/2016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759132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white"/>
                </a:solidFill>
              </a:rPr>
              <a:pPr/>
              <a:t>12/08/2016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69714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F6F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781798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E5F1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77044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E5F1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92981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E5F1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601838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DF2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0269516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FDF2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124713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FDF2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435999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FFA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information in footer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502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424266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FFFA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information in footer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52112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FFFA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information in footer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8709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02916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929861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91608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31"/>
            <a:ext cx="7662334" cy="5185544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059" y="2121281"/>
            <a:ext cx="1868310" cy="15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 rot="16200000" flipH="1">
            <a:off x="2522094" y="4169920"/>
            <a:ext cx="682410" cy="1264752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813969" y="4692279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26" name="Freeform 25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image © cr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4543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1525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059" y="2121281"/>
            <a:ext cx="1868310" cy="15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Freeform 19"/>
          <p:cNvSpPr>
            <a:spLocks/>
          </p:cNvSpPr>
          <p:nvPr userDrawn="1"/>
        </p:nvSpPr>
        <p:spPr bwMode="auto">
          <a:xfrm rot="16200000" flipH="1">
            <a:off x="6152472" y="4199846"/>
            <a:ext cx="668110" cy="1238249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noFill/>
          <a:ln w="127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9" name="Freeform 18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image © cr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82622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771525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059" y="2121281"/>
            <a:ext cx="1868310" cy="15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 rot="5400000" flipH="1">
            <a:off x="5819510" y="-227321"/>
            <a:ext cx="532767" cy="987409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0097D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813969" y="4692279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7" name="Freeform 16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image © cr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9209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7715251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059" y="2121281"/>
            <a:ext cx="1868310" cy="15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Freeform 19"/>
          <p:cNvSpPr>
            <a:spLocks/>
          </p:cNvSpPr>
          <p:nvPr userDrawn="1"/>
        </p:nvSpPr>
        <p:spPr bwMode="auto">
          <a:xfrm rot="5400000" flipH="1">
            <a:off x="5089048" y="-457829"/>
            <a:ext cx="1072999" cy="1988653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0097D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21" name="Freeform 20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3246357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© Brent </a:t>
            </a:r>
            <a:r>
              <a:rPr lang="en-GB" dirty="0" err="1" smtClean="0"/>
              <a:t>Stirton</a:t>
            </a:r>
            <a:r>
              <a:rPr lang="en-GB" dirty="0" smtClean="0"/>
              <a:t>/ Reportage by Getty Images. Canon Ambassad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25863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/>
          <p:cNvPicPr>
            <a:picLocks noChangeAspect="1"/>
          </p:cNvPicPr>
          <p:nvPr userDrawn="1"/>
        </p:nvPicPr>
        <p:blipFill rotWithShape="1">
          <a:blip r:embed="rId2"/>
          <a:srcRect t="14488" r="2655"/>
          <a:stretch/>
        </p:blipFill>
        <p:spPr>
          <a:xfrm>
            <a:off x="1724" y="-19050"/>
            <a:ext cx="7884976" cy="5195279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 rot="5400000" flipH="1">
            <a:off x="5856679" y="-346466"/>
            <a:ext cx="812005" cy="1504938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A2AD00">
              <a:alpha val="69804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283" y="2121470"/>
            <a:ext cx="1868086" cy="15766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813969" y="4692279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7" name="Freeform 16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David </a:t>
            </a:r>
            <a:r>
              <a:rPr lang="en-US" dirty="0" err="1" smtClean="0"/>
              <a:t>Noton</a:t>
            </a:r>
            <a:r>
              <a:rPr lang="en-US" dirty="0" smtClean="0"/>
              <a:t>. Canon Explor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721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303706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059" y="2121281"/>
            <a:ext cx="1868310" cy="15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33" name="Freeform 32"/>
          <p:cNvSpPr>
            <a:spLocks/>
          </p:cNvSpPr>
          <p:nvPr userDrawn="1"/>
        </p:nvSpPr>
        <p:spPr bwMode="auto">
          <a:xfrm flipH="1">
            <a:off x="-9526" y="2082891"/>
            <a:ext cx="1200151" cy="2489109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noFill/>
          <a:ln w="12700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9" name="Freeform 18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image © cr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88197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840000" cy="51300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6532685" y="0"/>
            <a:ext cx="2612066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059" y="2121281"/>
            <a:ext cx="1868310" cy="15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 rot="16200000" flipH="1">
            <a:off x="6569148" y="4154961"/>
            <a:ext cx="682410" cy="1264752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EEAF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813969" y="4692279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7" name="Freeform 16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image © cr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4150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9A67A-79D0-4577-ACD8-F49ED15A6787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468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059" y="2121281"/>
            <a:ext cx="1868310" cy="15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Freeform 19"/>
          <p:cNvSpPr>
            <a:spLocks/>
          </p:cNvSpPr>
          <p:nvPr userDrawn="1"/>
        </p:nvSpPr>
        <p:spPr bwMode="auto">
          <a:xfrm flipH="1">
            <a:off x="-9525" y="1976971"/>
            <a:ext cx="1400175" cy="259503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noFill/>
          <a:ln w="12700">
            <a:solidFill>
              <a:srgbClr val="EEAF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21" name="Freeform 20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Richard </a:t>
            </a:r>
            <a:r>
              <a:rPr lang="en-US" dirty="0" err="1" smtClean="0"/>
              <a:t>Walch</a:t>
            </a:r>
            <a:r>
              <a:rPr lang="en-US" dirty="0" smtClean="0"/>
              <a:t>. Canon Ambassad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94912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059" y="2121281"/>
            <a:ext cx="1868310" cy="15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 rot="16200000" flipH="1">
            <a:off x="4134644" y="4383413"/>
            <a:ext cx="532767" cy="987409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A31A7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813969" y="4692279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7" name="Freeform 16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David </a:t>
            </a:r>
            <a:r>
              <a:rPr lang="en-US" dirty="0" err="1" smtClean="0"/>
              <a:t>Noton</a:t>
            </a:r>
            <a:r>
              <a:rPr lang="en-US" dirty="0" smtClean="0"/>
              <a:t>. Canon Explor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00912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1525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059" y="2121281"/>
            <a:ext cx="1868310" cy="15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58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33" name="Freeform 32"/>
          <p:cNvSpPr>
            <a:spLocks/>
          </p:cNvSpPr>
          <p:nvPr userDrawn="1"/>
        </p:nvSpPr>
        <p:spPr bwMode="auto">
          <a:xfrm rot="16200000" flipH="1">
            <a:off x="3368375" y="3306013"/>
            <a:ext cx="1200151" cy="2489109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0" name="Freeform 19"/>
          <p:cNvSpPr>
            <a:spLocks noChangeAspect="1"/>
          </p:cNvSpPr>
          <p:nvPr userDrawn="1"/>
        </p:nvSpPr>
        <p:spPr bwMode="auto">
          <a:xfrm flipH="1">
            <a:off x="1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Thorsten </a:t>
            </a:r>
            <a:r>
              <a:rPr lang="en-US" dirty="0" err="1" smtClean="0"/>
              <a:t>Milse</a:t>
            </a:r>
            <a:r>
              <a:rPr lang="en-US" dirty="0" smtClean="0"/>
              <a:t>. Canon Ambassad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77285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131927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27879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627605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62675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rgbClr val="FDF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331620" y="3745707"/>
            <a:ext cx="700086" cy="70008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image © cr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532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680770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178" y="0"/>
            <a:ext cx="7787131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rgbClr val="FFFA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331620" y="3745707"/>
            <a:ext cx="700086" cy="70008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image © cr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58092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001125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331620" y="4221957"/>
            <a:ext cx="700086" cy="700086"/>
          </a:xfrm>
          <a:prstGeom prst="ellipse">
            <a:avLst/>
          </a:prstGeom>
          <a:solidFill>
            <a:srgbClr val="0097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18" name="Group 17"/>
          <p:cNvGrpSpPr>
            <a:grpSpLocks noChangeAspect="1"/>
          </p:cNvGrpSpPr>
          <p:nvPr userDrawn="1"/>
        </p:nvGrpSpPr>
        <p:grpSpPr>
          <a:xfrm>
            <a:off x="7813969" y="4692279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2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3925865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© Brent </a:t>
            </a:r>
            <a:r>
              <a:rPr lang="en-GB" dirty="0" err="1" smtClean="0"/>
              <a:t>Stirton</a:t>
            </a:r>
            <a:r>
              <a:rPr lang="en-GB" dirty="0" smtClean="0"/>
              <a:t>/ Reportage by Getty Images. Canon Ambassad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38909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229475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9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Brutus </a:t>
            </a:r>
            <a:r>
              <a:rPr lang="en-US" dirty="0" err="1" smtClean="0"/>
              <a:t>Ostling</a:t>
            </a:r>
            <a:r>
              <a:rPr lang="en-US" dirty="0" smtClean="0"/>
              <a:t> . Canon Ambassador</a:t>
            </a:r>
            <a:endParaRPr lang="en-GB" dirty="0"/>
          </a:p>
        </p:txBody>
      </p:sp>
      <p:sp>
        <p:nvSpPr>
          <p:cNvPr id="20" name="Oval 19"/>
          <p:cNvSpPr/>
          <p:nvPr userDrawn="1"/>
        </p:nvSpPr>
        <p:spPr>
          <a:xfrm>
            <a:off x="5331620" y="3755232"/>
            <a:ext cx="700086" cy="70008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2954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69"/>
          <a:stretch/>
        </p:blipFill>
        <p:spPr>
          <a:xfrm>
            <a:off x="-1" y="0"/>
            <a:ext cx="6753227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rgbClr val="E5F1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331620" y="4005766"/>
            <a:ext cx="700086" cy="70008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image © cr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782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" y="0"/>
            <a:ext cx="7707336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rgbClr val="F6F7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331620" y="2088357"/>
            <a:ext cx="700086" cy="7000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© </a:t>
            </a:r>
            <a:r>
              <a:rPr lang="en-US" dirty="0" err="1" smtClean="0"/>
              <a:t>Ziv</a:t>
            </a:r>
            <a:r>
              <a:rPr lang="en-US" dirty="0" smtClean="0"/>
              <a:t> </a:t>
            </a:r>
            <a:r>
              <a:rPr lang="en-US" dirty="0" err="1" smtClean="0"/>
              <a:t>Koren</a:t>
            </a:r>
            <a:r>
              <a:rPr lang="en-US" dirty="0" smtClean="0"/>
              <a:t>/ Polaris Images. Canon Ambassad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27339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93"/>
          <a:stretch/>
        </p:blipFill>
        <p:spPr>
          <a:xfrm>
            <a:off x="0" y="3774"/>
            <a:ext cx="5853830" cy="5139726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rgbClr val="F6E8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331620" y="3745707"/>
            <a:ext cx="700086" cy="70008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2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</a:t>
            </a:r>
            <a:r>
              <a:rPr lang="en-US" dirty="0" err="1" smtClean="0"/>
              <a:t>Ziv</a:t>
            </a:r>
            <a:r>
              <a:rPr lang="en-US" dirty="0" smtClean="0"/>
              <a:t> </a:t>
            </a:r>
            <a:r>
              <a:rPr lang="en-US" dirty="0" err="1" smtClean="0"/>
              <a:t>Koren</a:t>
            </a:r>
            <a:r>
              <a:rPr lang="en-US" dirty="0" smtClean="0"/>
              <a:t>/ Polaris Images. Canon Ambassad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3189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 flipV="1">
            <a:off x="327116" y="924795"/>
            <a:ext cx="8562729" cy="6962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 userDrawn="1"/>
        </p:nvSpPr>
        <p:spPr>
          <a:xfrm>
            <a:off x="-210587" y="2329470"/>
            <a:ext cx="425405" cy="425405"/>
          </a:xfrm>
          <a:prstGeom prst="ellipse">
            <a:avLst/>
          </a:prstGeom>
          <a:noFill/>
          <a:ln w="12700" cmpd="sng">
            <a:solidFill>
              <a:srgbClr val="D8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/>
            <a:endParaRPr lang="en-US" dirty="0">
              <a:latin typeface="Century Gothic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7779326" y="155468"/>
            <a:ext cx="1110519" cy="639871"/>
          </a:xfrm>
          <a:prstGeom prst="rect">
            <a:avLst/>
          </a:prstGeom>
        </p:spPr>
      </p:pic>
      <p:sp>
        <p:nvSpPr>
          <p:cNvPr id="4" name="円/楕円 3"/>
          <p:cNvSpPr/>
          <p:nvPr userDrawn="1"/>
        </p:nvSpPr>
        <p:spPr>
          <a:xfrm>
            <a:off x="7779326" y="295188"/>
            <a:ext cx="285750" cy="27622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円/楕円 10"/>
          <p:cNvSpPr/>
          <p:nvPr userDrawn="1"/>
        </p:nvSpPr>
        <p:spPr>
          <a:xfrm>
            <a:off x="8172335" y="581365"/>
            <a:ext cx="221353" cy="21397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円/楕円 1"/>
          <p:cNvSpPr/>
          <p:nvPr userDrawn="1"/>
        </p:nvSpPr>
        <p:spPr>
          <a:xfrm>
            <a:off x="7760391" y="284579"/>
            <a:ext cx="304685" cy="3161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6" name="Picture 2" descr="http://www.brandsoftheworld.com/sites/default/files/styles/logo-thumbnail/public/0013/8306/brand.gif?itok=Ufki_DLm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959" y="289883"/>
            <a:ext cx="305548" cy="305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円/楕円 12"/>
          <p:cNvSpPr/>
          <p:nvPr userDrawn="1"/>
        </p:nvSpPr>
        <p:spPr>
          <a:xfrm>
            <a:off x="8134672" y="539160"/>
            <a:ext cx="308009" cy="298383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8" name="Picture 4" descr="http://cweb.canon.jp/newsrelease/photo/2014-08/maxify-logo.png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4861" y="579099"/>
            <a:ext cx="302466" cy="226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902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 flipV="1">
            <a:off x="327116" y="924795"/>
            <a:ext cx="8562729" cy="6962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 userDrawn="1"/>
        </p:nvSpPr>
        <p:spPr>
          <a:xfrm>
            <a:off x="-210587" y="2329470"/>
            <a:ext cx="425405" cy="425405"/>
          </a:xfrm>
          <a:prstGeom prst="ellipse">
            <a:avLst/>
          </a:prstGeom>
          <a:noFill/>
          <a:ln w="12700" cmpd="sng">
            <a:solidFill>
              <a:srgbClr val="D8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/>
            <a:endParaRPr lang="en-US" dirty="0">
              <a:latin typeface="Century Gothic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7779326" y="155468"/>
            <a:ext cx="1110519" cy="639871"/>
          </a:xfrm>
          <a:prstGeom prst="rect">
            <a:avLst/>
          </a:prstGeom>
        </p:spPr>
      </p:pic>
      <p:sp>
        <p:nvSpPr>
          <p:cNvPr id="4" name="円/楕円 3"/>
          <p:cNvSpPr/>
          <p:nvPr userDrawn="1"/>
        </p:nvSpPr>
        <p:spPr>
          <a:xfrm>
            <a:off x="7779326" y="295188"/>
            <a:ext cx="285750" cy="27622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円/楕円 10"/>
          <p:cNvSpPr/>
          <p:nvPr userDrawn="1"/>
        </p:nvSpPr>
        <p:spPr>
          <a:xfrm>
            <a:off x="8172335" y="581365"/>
            <a:ext cx="221353" cy="21397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円/楕円 1"/>
          <p:cNvSpPr/>
          <p:nvPr userDrawn="1"/>
        </p:nvSpPr>
        <p:spPr>
          <a:xfrm>
            <a:off x="7760391" y="284579"/>
            <a:ext cx="304685" cy="3161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6" name="Picture 2" descr="http://www.brandsoftheworld.com/sites/default/files/styles/logo-thumbnail/public/0013/8306/brand.gif?itok=Ufki_DLm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959" y="289883"/>
            <a:ext cx="305548" cy="305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円/楕円 12"/>
          <p:cNvSpPr/>
          <p:nvPr userDrawn="1"/>
        </p:nvSpPr>
        <p:spPr>
          <a:xfrm>
            <a:off x="8134672" y="539160"/>
            <a:ext cx="308009" cy="298383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8" name="Picture 4" descr="http://cweb.canon.jp/newsrelease/photo/2014-08/maxify-logo.png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4861" y="579099"/>
            <a:ext cx="302466" cy="226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06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 flipV="1">
            <a:off x="327116" y="924795"/>
            <a:ext cx="8562729" cy="6962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 userDrawn="1"/>
        </p:nvSpPr>
        <p:spPr>
          <a:xfrm>
            <a:off x="-210587" y="2329470"/>
            <a:ext cx="425405" cy="425405"/>
          </a:xfrm>
          <a:prstGeom prst="ellipse">
            <a:avLst/>
          </a:prstGeom>
          <a:noFill/>
          <a:ln w="12700" cmpd="sng">
            <a:solidFill>
              <a:srgbClr val="D8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/>
            <a:endParaRPr lang="en-US" dirty="0">
              <a:latin typeface="Century Gothic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7779326" y="155468"/>
            <a:ext cx="1110519" cy="639871"/>
          </a:xfrm>
          <a:prstGeom prst="rect">
            <a:avLst/>
          </a:prstGeom>
        </p:spPr>
      </p:pic>
      <p:sp>
        <p:nvSpPr>
          <p:cNvPr id="4" name="円/楕円 3"/>
          <p:cNvSpPr/>
          <p:nvPr userDrawn="1"/>
        </p:nvSpPr>
        <p:spPr>
          <a:xfrm>
            <a:off x="7779326" y="295188"/>
            <a:ext cx="285750" cy="27622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円/楕円 10"/>
          <p:cNvSpPr/>
          <p:nvPr userDrawn="1"/>
        </p:nvSpPr>
        <p:spPr>
          <a:xfrm>
            <a:off x="8172335" y="581365"/>
            <a:ext cx="221353" cy="21397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円/楕円 1"/>
          <p:cNvSpPr/>
          <p:nvPr userDrawn="1"/>
        </p:nvSpPr>
        <p:spPr>
          <a:xfrm>
            <a:off x="7760391" y="284579"/>
            <a:ext cx="304685" cy="3161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6" name="Picture 2" descr="http://www.brandsoftheworld.com/sites/default/files/styles/logo-thumbnail/public/0013/8306/brand.gif?itok=Ufki_DLm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959" y="289883"/>
            <a:ext cx="305548" cy="305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円/楕円 12"/>
          <p:cNvSpPr/>
          <p:nvPr userDrawn="1"/>
        </p:nvSpPr>
        <p:spPr>
          <a:xfrm>
            <a:off x="8134672" y="539160"/>
            <a:ext cx="308009" cy="298383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8" name="Picture 4" descr="http://cweb.canon.jp/newsrelease/photo/2014-08/maxify-logo.png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4861" y="579099"/>
            <a:ext cx="302466" cy="226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359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 flipV="1">
            <a:off x="327116" y="924795"/>
            <a:ext cx="8562729" cy="6962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 userDrawn="1"/>
        </p:nvSpPr>
        <p:spPr>
          <a:xfrm>
            <a:off x="-210587" y="2329470"/>
            <a:ext cx="425405" cy="425405"/>
          </a:xfrm>
          <a:prstGeom prst="ellipse">
            <a:avLst/>
          </a:prstGeom>
          <a:noFill/>
          <a:ln w="12700" cmpd="sng">
            <a:solidFill>
              <a:srgbClr val="D8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/>
            <a:endParaRPr lang="en-US" dirty="0">
              <a:latin typeface="Century Gothic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7779326" y="155468"/>
            <a:ext cx="1110519" cy="639871"/>
          </a:xfrm>
          <a:prstGeom prst="rect">
            <a:avLst/>
          </a:prstGeom>
        </p:spPr>
      </p:pic>
      <p:sp>
        <p:nvSpPr>
          <p:cNvPr id="4" name="円/楕円 3"/>
          <p:cNvSpPr/>
          <p:nvPr userDrawn="1"/>
        </p:nvSpPr>
        <p:spPr>
          <a:xfrm>
            <a:off x="7779326" y="295188"/>
            <a:ext cx="285750" cy="27622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円/楕円 10"/>
          <p:cNvSpPr/>
          <p:nvPr userDrawn="1"/>
        </p:nvSpPr>
        <p:spPr>
          <a:xfrm>
            <a:off x="8172335" y="581365"/>
            <a:ext cx="221353" cy="21397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円/楕円 1"/>
          <p:cNvSpPr/>
          <p:nvPr userDrawn="1"/>
        </p:nvSpPr>
        <p:spPr>
          <a:xfrm>
            <a:off x="7760391" y="284579"/>
            <a:ext cx="304685" cy="3161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6" name="Picture 2" descr="http://www.brandsoftheworld.com/sites/default/files/styles/logo-thumbnail/public/0013/8306/brand.gif?itok=Ufki_DLm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959" y="289883"/>
            <a:ext cx="305548" cy="305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円/楕円 12"/>
          <p:cNvSpPr/>
          <p:nvPr userDrawn="1"/>
        </p:nvSpPr>
        <p:spPr>
          <a:xfrm>
            <a:off x="8134672" y="539160"/>
            <a:ext cx="308009" cy="298383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8" name="Picture 4" descr="http://cweb.canon.jp/newsrelease/photo/2014-08/maxify-logo.png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4861" y="579099"/>
            <a:ext cx="302466" cy="226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816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942559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 flipV="1">
            <a:off x="327116" y="924795"/>
            <a:ext cx="8562729" cy="6962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 userDrawn="1"/>
        </p:nvSpPr>
        <p:spPr>
          <a:xfrm>
            <a:off x="-210587" y="2329470"/>
            <a:ext cx="425405" cy="425405"/>
          </a:xfrm>
          <a:prstGeom prst="ellipse">
            <a:avLst/>
          </a:prstGeom>
          <a:noFill/>
          <a:ln w="12700" cmpd="sng">
            <a:solidFill>
              <a:srgbClr val="D8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/>
            <a:endParaRPr lang="en-US" dirty="0">
              <a:latin typeface="Century Gothic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7779326" y="155468"/>
            <a:ext cx="1110519" cy="639871"/>
          </a:xfrm>
          <a:prstGeom prst="rect">
            <a:avLst/>
          </a:prstGeom>
        </p:spPr>
      </p:pic>
      <p:sp>
        <p:nvSpPr>
          <p:cNvPr id="4" name="円/楕円 3"/>
          <p:cNvSpPr/>
          <p:nvPr userDrawn="1"/>
        </p:nvSpPr>
        <p:spPr>
          <a:xfrm>
            <a:off x="7779326" y="295188"/>
            <a:ext cx="285750" cy="27622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円/楕円 10"/>
          <p:cNvSpPr/>
          <p:nvPr userDrawn="1"/>
        </p:nvSpPr>
        <p:spPr>
          <a:xfrm>
            <a:off x="8172335" y="581365"/>
            <a:ext cx="221353" cy="21397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円/楕円 1"/>
          <p:cNvSpPr/>
          <p:nvPr userDrawn="1"/>
        </p:nvSpPr>
        <p:spPr>
          <a:xfrm>
            <a:off x="7760391" y="284579"/>
            <a:ext cx="304685" cy="3161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6" name="Picture 2" descr="http://www.brandsoftheworld.com/sites/default/files/styles/logo-thumbnail/public/0013/8306/brand.gif?itok=Ufki_DLm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959" y="289883"/>
            <a:ext cx="305548" cy="305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円/楕円 12"/>
          <p:cNvSpPr/>
          <p:nvPr userDrawn="1"/>
        </p:nvSpPr>
        <p:spPr>
          <a:xfrm>
            <a:off x="8134672" y="539160"/>
            <a:ext cx="308009" cy="298383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8" name="Picture 4" descr="http://cweb.canon.jp/newsrelease/photo/2014-08/maxify-logo.png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4861" y="579099"/>
            <a:ext cx="302466" cy="226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7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 flipV="1">
            <a:off x="327116" y="924795"/>
            <a:ext cx="8562729" cy="6962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 userDrawn="1"/>
        </p:nvSpPr>
        <p:spPr>
          <a:xfrm>
            <a:off x="-210587" y="2329470"/>
            <a:ext cx="425405" cy="425405"/>
          </a:xfrm>
          <a:prstGeom prst="ellipse">
            <a:avLst/>
          </a:prstGeom>
          <a:noFill/>
          <a:ln w="12700" cmpd="sng">
            <a:solidFill>
              <a:srgbClr val="D8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/>
            <a:endParaRPr lang="en-US" dirty="0">
              <a:latin typeface="Century Gothic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7779326" y="155468"/>
            <a:ext cx="1110519" cy="639871"/>
          </a:xfrm>
          <a:prstGeom prst="rect">
            <a:avLst/>
          </a:prstGeom>
        </p:spPr>
      </p:pic>
      <p:sp>
        <p:nvSpPr>
          <p:cNvPr id="4" name="円/楕円 3"/>
          <p:cNvSpPr/>
          <p:nvPr userDrawn="1"/>
        </p:nvSpPr>
        <p:spPr>
          <a:xfrm>
            <a:off x="7779326" y="295188"/>
            <a:ext cx="285750" cy="27622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円/楕円 10"/>
          <p:cNvSpPr/>
          <p:nvPr userDrawn="1"/>
        </p:nvSpPr>
        <p:spPr>
          <a:xfrm>
            <a:off x="8172335" y="581365"/>
            <a:ext cx="221353" cy="21397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円/楕円 1"/>
          <p:cNvSpPr/>
          <p:nvPr userDrawn="1"/>
        </p:nvSpPr>
        <p:spPr>
          <a:xfrm>
            <a:off x="7760391" y="284579"/>
            <a:ext cx="304685" cy="3161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6" name="Picture 2" descr="http://www.brandsoftheworld.com/sites/default/files/styles/logo-thumbnail/public/0013/8306/brand.gif?itok=Ufki_DLm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959" y="289883"/>
            <a:ext cx="305548" cy="305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円/楕円 12"/>
          <p:cNvSpPr/>
          <p:nvPr userDrawn="1"/>
        </p:nvSpPr>
        <p:spPr>
          <a:xfrm>
            <a:off x="8134672" y="539160"/>
            <a:ext cx="308009" cy="298383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8" name="Picture 4" descr="http://cweb.canon.jp/newsrelease/photo/2014-08/maxify-logo.png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4861" y="579099"/>
            <a:ext cx="302466" cy="226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453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 flipV="1">
            <a:off x="327116" y="924795"/>
            <a:ext cx="8562729" cy="6962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 userDrawn="1"/>
        </p:nvSpPr>
        <p:spPr>
          <a:xfrm>
            <a:off x="-210587" y="2329470"/>
            <a:ext cx="425405" cy="425405"/>
          </a:xfrm>
          <a:prstGeom prst="ellipse">
            <a:avLst/>
          </a:prstGeom>
          <a:noFill/>
          <a:ln w="12700" cmpd="sng">
            <a:solidFill>
              <a:srgbClr val="D800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/>
            <a:endParaRPr lang="en-US" dirty="0">
              <a:latin typeface="Century Gothic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7779326" y="155468"/>
            <a:ext cx="1110519" cy="639871"/>
          </a:xfrm>
          <a:prstGeom prst="rect">
            <a:avLst/>
          </a:prstGeom>
        </p:spPr>
      </p:pic>
      <p:sp>
        <p:nvSpPr>
          <p:cNvPr id="4" name="円/楕円 3"/>
          <p:cNvSpPr/>
          <p:nvPr userDrawn="1"/>
        </p:nvSpPr>
        <p:spPr>
          <a:xfrm>
            <a:off x="7779326" y="295188"/>
            <a:ext cx="285750" cy="27622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円/楕円 10"/>
          <p:cNvSpPr/>
          <p:nvPr userDrawn="1"/>
        </p:nvSpPr>
        <p:spPr>
          <a:xfrm>
            <a:off x="8172335" y="581365"/>
            <a:ext cx="221353" cy="213974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円/楕円 1"/>
          <p:cNvSpPr/>
          <p:nvPr userDrawn="1"/>
        </p:nvSpPr>
        <p:spPr>
          <a:xfrm>
            <a:off x="7760391" y="284579"/>
            <a:ext cx="304685" cy="3161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6" name="Picture 2" descr="http://www.brandsoftheworld.com/sites/default/files/styles/logo-thumbnail/public/0013/8306/brand.gif?itok=Ufki_DLm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959" y="289883"/>
            <a:ext cx="305548" cy="305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円/楕円 12"/>
          <p:cNvSpPr/>
          <p:nvPr userDrawn="1"/>
        </p:nvSpPr>
        <p:spPr>
          <a:xfrm>
            <a:off x="8134672" y="539160"/>
            <a:ext cx="308009" cy="298383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28" name="Picture 4" descr="http://cweb.canon.jp/newsrelease/photo/2014-08/maxify-logo.png"/>
          <p:cNvPicPr>
            <a:picLocks noChangeAspect="1" noChangeArrowheads="1"/>
          </p:cNvPicPr>
          <p:nvPr userDrawn="1"/>
        </p:nvPicPr>
        <p:blipFill>
          <a:blip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4861" y="579099"/>
            <a:ext cx="302466" cy="226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440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52413" y="4824407"/>
            <a:ext cx="2895600" cy="273844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Presentation information in footer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8125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ja-JP" altLang="en-US" smtClean="0"/>
              <a:t>マスター テキストの書式設定</a:t>
            </a:r>
          </a:p>
          <a:p>
            <a:pPr lvl="1">
              <a:spcAft>
                <a:spcPts val="900"/>
              </a:spcAft>
            </a:pPr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>
              <a:spcAft>
                <a:spcPts val="900"/>
              </a:spcAft>
            </a:pPr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>
              <a:spcAft>
                <a:spcPts val="900"/>
              </a:spcAft>
            </a:pPr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>
              <a:spcAft>
                <a:spcPts val="900"/>
              </a:spcAft>
            </a:pPr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52413" y="4824407"/>
            <a:ext cx="2895600" cy="273844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Presentation information in footer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1400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4554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430765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E2215B-42A5-4EAC-950E-B3E951209642}" type="datetimeFigureOut">
              <a:rPr lang="en-GB" smtClean="0"/>
              <a:t>12/08/2016</a:t>
            </a:fld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5C427-8BC2-47F1-AEEA-77F68850F65F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243" y="1173079"/>
            <a:ext cx="8229600" cy="2898170"/>
          </a:xfrm>
        </p:spPr>
        <p:txBody>
          <a:bodyPr>
            <a:normAutofit/>
          </a:bodyPr>
          <a:lstStyle>
            <a:lvl1pPr marL="0" indent="0" algn="l" defTabSz="685617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dirty="0" smtClean="0">
                <a:solidFill>
                  <a:schemeClr val="tx1"/>
                </a:solidFill>
                <a:latin typeface="DendaNew" pitchFamily="2" charset="0"/>
                <a:ea typeface="+mn-ea"/>
                <a:cs typeface="+mn-cs"/>
              </a:defRPr>
            </a:lvl1pPr>
            <a:lvl2pPr marL="342809" indent="0" algn="l" defTabSz="685617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dirty="0" smtClean="0">
                <a:solidFill>
                  <a:schemeClr val="tx1"/>
                </a:solidFill>
                <a:latin typeface="DendaNew" pitchFamily="2" charset="0"/>
                <a:ea typeface="+mn-ea"/>
                <a:cs typeface="+mn-cs"/>
              </a:defRPr>
            </a:lvl2pPr>
            <a:lvl3pPr marL="685617" indent="0" algn="l" defTabSz="685617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dirty="0" smtClean="0">
                <a:solidFill>
                  <a:schemeClr val="tx1"/>
                </a:solidFill>
                <a:latin typeface="DendaNew" pitchFamily="2" charset="0"/>
                <a:ea typeface="+mn-ea"/>
                <a:cs typeface="+mn-cs"/>
              </a:defRPr>
            </a:lvl3pPr>
            <a:lvl4pPr marL="1028426" indent="0" algn="l" defTabSz="685617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kern="1200" dirty="0" smtClean="0">
                <a:solidFill>
                  <a:schemeClr val="tx1"/>
                </a:solidFill>
                <a:latin typeface="DendaNew" pitchFamily="2" charset="0"/>
                <a:ea typeface="+mn-ea"/>
                <a:cs typeface="+mn-cs"/>
              </a:defRPr>
            </a:lvl4pPr>
            <a:lvl5pPr marL="1371234" indent="0" algn="l" defTabSz="685617" rtl="0" eaLnBrk="1" latinLnBrk="0" hangingPunct="1">
              <a:spcBef>
                <a:spcPct val="20000"/>
              </a:spcBef>
              <a:buFont typeface="Arial" pitchFamily="34" charset="0"/>
              <a:buNone/>
              <a:defRPr lang="en-GB" sz="1800" kern="1200" dirty="0">
                <a:solidFill>
                  <a:schemeClr val="tx1"/>
                </a:solidFill>
                <a:latin typeface="DendaNew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75" y="204402"/>
            <a:ext cx="8232377" cy="8572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951687" y="53331"/>
            <a:ext cx="2790098" cy="179785"/>
          </a:xfrm>
        </p:spPr>
        <p:txBody>
          <a:bodyPr/>
          <a:lstStyle>
            <a:lvl1pPr marL="0" indent="0" algn="r" eaLnBrk="1" hangingPunct="1">
              <a:buNone/>
              <a:defRPr sz="2099"/>
            </a:lvl1pPr>
          </a:lstStyle>
          <a:p>
            <a:pPr algn="r" eaLnBrk="1" hangingPunct="1"/>
            <a:r>
              <a:rPr lang="en-US" sz="750" dirty="0" smtClean="0"/>
              <a:t>For internal use only. Select your 'R' level.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165226645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ru-RU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38159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ru-RU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4849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2191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7480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ru-RU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ru-RU"/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23401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ru-RU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ru-RU"/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57713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9691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4856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ru-RU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1264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04965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ru-RU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59421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ru-RU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29179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928406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079108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946513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622338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06526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40719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358"/>
          <a:stretch/>
        </p:blipFill>
        <p:spPr>
          <a:xfrm>
            <a:off x="0" y="0"/>
            <a:ext cx="5681663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rgbClr val="F6E8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331620" y="3745707"/>
            <a:ext cx="700086" cy="70008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5579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06" r="11558"/>
          <a:stretch/>
        </p:blipFill>
        <p:spPr>
          <a:xfrm>
            <a:off x="0" y="0"/>
            <a:ext cx="5681663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rgbClr val="F6E8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331620" y="3745707"/>
            <a:ext cx="700086" cy="70008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9145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11485" cy="51435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681664" y="0"/>
            <a:ext cx="3462338" cy="5143500"/>
          </a:xfrm>
          <a:prstGeom prst="rect">
            <a:avLst/>
          </a:prstGeom>
          <a:solidFill>
            <a:srgbClr val="F6E8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331620" y="3745707"/>
            <a:ext cx="700086" cy="70008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9613" y="646515"/>
            <a:ext cx="3103562" cy="813191"/>
          </a:xfrm>
        </p:spPr>
        <p:txBody>
          <a:bodyPr anchor="t"/>
          <a:lstStyle>
            <a:lvl1pPr algn="l">
              <a:defRPr sz="20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89613" y="1464071"/>
            <a:ext cx="3103562" cy="1125140"/>
          </a:xfrm>
        </p:spPr>
        <p:txBody>
          <a:bodyPr anchor="t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5787222" y="469235"/>
            <a:ext cx="72000" cy="7200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103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9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652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10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4414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468314" y="871539"/>
            <a:ext cx="8207375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468314" y="1221582"/>
            <a:ext cx="8207375" cy="35647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468314" y="871538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54232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E5F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56423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9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488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10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936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9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125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10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330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1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3475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1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10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112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9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313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10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82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5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9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59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59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</p:spTree>
    <p:extLst>
      <p:ext uri="{BB962C8B-B14F-4D97-AF65-F5344CB8AC3E}">
        <p14:creationId xmlns:p14="http://schemas.microsoft.com/office/powerpoint/2010/main" val="92394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4" y="1209679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1" indent="-133271">
              <a:defRPr lang="en-US" sz="1200" smtClean="0"/>
            </a:lvl2pPr>
            <a:lvl3pPr marL="133271" indent="-133271">
              <a:defRPr lang="en-US" sz="1200" smtClean="0"/>
            </a:lvl3pPr>
            <a:lvl4pPr marL="266541" indent="-85675">
              <a:defRPr lang="en-US" sz="1100" smtClean="0"/>
            </a:lvl4pPr>
            <a:lvl5pPr marL="447412" indent="-88849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4" y="1209679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1" lvl="1" indent="-133271"/>
            <a:r>
              <a:rPr lang="en-US" dirty="0" smtClean="0"/>
              <a:t>Second level</a:t>
            </a:r>
          </a:p>
          <a:p>
            <a:pPr marL="133271" lvl="2" indent="-133271"/>
            <a:r>
              <a:rPr lang="en-US" dirty="0" smtClean="0"/>
              <a:t>Third level</a:t>
            </a:r>
          </a:p>
          <a:p>
            <a:pPr marL="266541" lvl="3" indent="-85675"/>
            <a:r>
              <a:rPr lang="en-US" dirty="0" smtClean="0"/>
              <a:t>Fourth level</a:t>
            </a:r>
          </a:p>
          <a:p>
            <a:pPr marL="447412" lvl="4" indent="-88849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5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10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59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59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</p:spTree>
    <p:extLst>
      <p:ext uri="{BB962C8B-B14F-4D97-AF65-F5344CB8AC3E}">
        <p14:creationId xmlns:p14="http://schemas.microsoft.com/office/powerpoint/2010/main" val="2643685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E5F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/>
              <a:t>12/08/2016</a:t>
            </a:fld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00B2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537591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1" tIns="45702" rIns="91401" bIns="45702" rtlCol="0" anchor="ctr"/>
          <a:lstStyle/>
          <a:p>
            <a:pPr algn="ctr" defTabSz="913859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4" y="395062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4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6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 rot="16200000" flipH="1">
            <a:off x="4134644" y="4383415"/>
            <a:ext cx="532767" cy="987409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A31A7E"/>
          </a:solidFill>
          <a:ln>
            <a:noFill/>
          </a:ln>
        </p:spPr>
        <p:txBody>
          <a:bodyPr vert="horz" wrap="square" lIns="91401" tIns="45702" rIns="91401" bIns="45702" numCol="1" anchor="t" anchorCtr="0" compatLnSpc="1">
            <a:prstTxWarp prst="textNoShape">
              <a:avLst/>
            </a:prstTxWarp>
          </a:bodyPr>
          <a:lstStyle/>
          <a:p>
            <a:pPr defTabSz="913859"/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813970" y="4692281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7" name="Freeform 16"/>
          <p:cNvSpPr>
            <a:spLocks noChangeAspect="1"/>
          </p:cNvSpPr>
          <p:nvPr userDrawn="1"/>
        </p:nvSpPr>
        <p:spPr bwMode="auto">
          <a:xfrm flipH="1">
            <a:off x="3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01" tIns="45702" rIns="91401" bIns="45702" numCol="1" anchor="t" anchorCtr="0" compatLnSpc="1">
            <a:prstTxWarp prst="textNoShape">
              <a:avLst/>
            </a:prstTxWarp>
          </a:bodyPr>
          <a:lstStyle/>
          <a:p>
            <a:pPr defTabSz="913859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2" y="139701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6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David </a:t>
            </a:r>
            <a:r>
              <a:rPr lang="en-US" dirty="0" err="1" smtClean="0"/>
              <a:t>Noton</a:t>
            </a:r>
            <a:r>
              <a:rPr lang="en-US" dirty="0" smtClean="0"/>
              <a:t>. Canon Explorer</a:t>
            </a:r>
            <a:endParaRPr lang="en-GB" dirty="0"/>
          </a:p>
        </p:txBody>
      </p:sp>
      <p:pic>
        <p:nvPicPr>
          <p:cNvPr id="29" name="Picture 28"/>
          <p:cNvPicPr>
            <a:picLocks noChangeAspect="1" noChangeArrowheads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8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1470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5955902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350" indent="-133350">
              <a:defRPr lang="en-US" sz="1200" smtClean="0"/>
            </a:lvl2pPr>
            <a:lvl3pPr marL="133350" indent="-133350">
              <a:defRPr lang="en-US" sz="1200" smtClean="0"/>
            </a:lvl3pPr>
            <a:lvl4pPr marL="266700" indent="-85725">
              <a:defRPr lang="en-US" sz="1100" smtClean="0"/>
            </a:lvl4pPr>
            <a:lvl5pPr marL="447675" indent="-88900">
              <a:defRPr lang="en-GB"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7171589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4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5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350" lvl="1" indent="-133350"/>
            <a:r>
              <a:rPr lang="en-US" dirty="0" smtClean="0"/>
              <a:t>Second level</a:t>
            </a:r>
          </a:p>
          <a:p>
            <a:pPr marL="133350" lvl="2" indent="-133350"/>
            <a:r>
              <a:rPr lang="en-US" dirty="0" smtClean="0"/>
              <a:t>Third level</a:t>
            </a:r>
          </a:p>
          <a:p>
            <a:pPr marL="266700" lvl="3" indent="-85725"/>
            <a:r>
              <a:rPr lang="en-US" dirty="0" smtClean="0"/>
              <a:t>Fourth level</a:t>
            </a:r>
          </a:p>
          <a:p>
            <a:pPr marL="447675" lvl="4" indent="-88900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52413" y="1209675"/>
            <a:ext cx="3592512" cy="33543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 rot="16200000">
            <a:off x="3424635" y="442396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24751" y="139700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1670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491930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</p:spTree>
    <p:extLst>
      <p:ext uri="{BB962C8B-B14F-4D97-AF65-F5344CB8AC3E}">
        <p14:creationId xmlns:p14="http://schemas.microsoft.com/office/powerpoint/2010/main" val="3807385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81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81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26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9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87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Aft>
                <a:spcPts val="900"/>
              </a:spcAft>
              <a:defRPr lang="en-US" sz="1200" smtClean="0"/>
            </a:lvl1pPr>
            <a:lvl2pPr marL="133274" indent="-133274">
              <a:defRPr lang="en-US" sz="1200" smtClean="0"/>
            </a:lvl2pPr>
            <a:lvl3pPr marL="133274" indent="-133274">
              <a:defRPr lang="en-US" sz="1200" smtClean="0"/>
            </a:lvl3pPr>
            <a:lvl4pPr marL="266548" indent="-85677">
              <a:defRPr lang="en-US" sz="1100" smtClean="0"/>
            </a:lvl4pPr>
            <a:lvl5pPr marL="447423" indent="-88851">
              <a:defRPr lang="en-GB"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3363" y="1209678"/>
            <a:ext cx="3586162" cy="335438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100" dirty="0" smtClean="0"/>
            </a:lvl4pPr>
            <a:lvl5pPr>
              <a:defRPr lang="en-GB" sz="1000" dirty="0"/>
            </a:lvl5pPr>
          </a:lstStyle>
          <a:p>
            <a:pPr lvl="0">
              <a:spcAft>
                <a:spcPts val="900"/>
              </a:spcAft>
            </a:pPr>
            <a:r>
              <a:rPr lang="en-US" dirty="0" smtClean="0"/>
              <a:t>Click to edit Master text styles</a:t>
            </a:r>
          </a:p>
          <a:p>
            <a:pPr marL="133274" lvl="1" indent="-133274"/>
            <a:r>
              <a:rPr lang="en-US" dirty="0" smtClean="0"/>
              <a:t>Second level</a:t>
            </a:r>
          </a:p>
          <a:p>
            <a:pPr marL="133274" lvl="2" indent="-133274"/>
            <a:r>
              <a:rPr lang="en-US" dirty="0" smtClean="0"/>
              <a:t>Third level</a:t>
            </a:r>
          </a:p>
          <a:p>
            <a:pPr marL="266548" lvl="3" indent="-85677"/>
            <a:r>
              <a:rPr lang="en-US" dirty="0" smtClean="0"/>
              <a:t>Fourth level</a:t>
            </a:r>
          </a:p>
          <a:p>
            <a:pPr marL="447423" lvl="4" indent="-88851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CA2D9-DB72-48D3-9874-552612A03270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1674" y="4840930"/>
            <a:ext cx="2902591" cy="234410"/>
          </a:xfrm>
        </p:spPr>
        <p:txBody>
          <a:bodyPr/>
          <a:lstStyle>
            <a:lvl1pPr>
              <a:defRPr sz="700" baseline="0"/>
            </a:lvl1pPr>
          </a:lstStyle>
          <a:p>
            <a:pPr lvl="0"/>
            <a:r>
              <a:rPr lang="en-US" dirty="0" smtClean="0"/>
              <a:t>Click here to add presentation title</a:t>
            </a:r>
          </a:p>
        </p:txBody>
      </p:sp>
      <p:sp>
        <p:nvSpPr>
          <p:cNvPr id="10" name="Oval 7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889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7524751" y="0"/>
            <a:ext cx="1619250" cy="5143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1" tIns="45702" rIns="91401" bIns="45702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13" y="395061"/>
            <a:ext cx="4719637" cy="1102519"/>
          </a:xfrm>
        </p:spPr>
        <p:txBody>
          <a:bodyPr/>
          <a:lstStyle>
            <a:lvl1pPr algn="l"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2413" y="1446180"/>
            <a:ext cx="4702144" cy="131445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 rot="16200000" flipH="1">
            <a:off x="4134644" y="4383414"/>
            <a:ext cx="532767" cy="987409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A31A7E"/>
          </a:solidFill>
          <a:ln>
            <a:noFill/>
          </a:ln>
        </p:spPr>
        <p:txBody>
          <a:bodyPr vert="horz" wrap="square" lIns="91401" tIns="45702" rIns="91401" bIns="45702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813970" y="4692281"/>
            <a:ext cx="1080000" cy="226587"/>
            <a:chOff x="2436813" y="2125663"/>
            <a:chExt cx="4275137" cy="896937"/>
          </a:xfrm>
        </p:grpSpPr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7" name="Freeform 16"/>
          <p:cNvSpPr>
            <a:spLocks noChangeAspect="1"/>
          </p:cNvSpPr>
          <p:nvPr userDrawn="1"/>
        </p:nvSpPr>
        <p:spPr bwMode="auto">
          <a:xfrm flipH="1">
            <a:off x="2" y="430213"/>
            <a:ext cx="156601" cy="313200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01" tIns="45702" rIns="91401" bIns="45702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24751" y="139701"/>
            <a:ext cx="1485898" cy="260350"/>
          </a:xfrm>
        </p:spPr>
        <p:txBody>
          <a:bodyPr/>
          <a:lstStyle>
            <a:lvl1pPr algn="r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urity R* Level</a:t>
            </a:r>
            <a:endParaRPr lang="en-GB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1855" y="4834311"/>
            <a:ext cx="2515789" cy="260350"/>
          </a:xfrm>
        </p:spPr>
        <p:txBody>
          <a:bodyPr/>
          <a:lstStyle>
            <a:lvl1pPr algn="l"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© David </a:t>
            </a:r>
            <a:r>
              <a:rPr lang="en-US" dirty="0" err="1" smtClean="0"/>
              <a:t>Noton</a:t>
            </a:r>
            <a:r>
              <a:rPr lang="en-US" dirty="0" smtClean="0"/>
              <a:t>. Canon Explorer</a:t>
            </a:r>
            <a:endParaRPr lang="en-GB" dirty="0"/>
          </a:p>
        </p:txBody>
      </p:sp>
      <p:pic>
        <p:nvPicPr>
          <p:cNvPr id="29" name="Picture 28"/>
          <p:cNvPicPr>
            <a:picLocks noChangeAspect="1" noChangeArrowheads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79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1023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529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slideLayout" Target="../slideLayouts/slideLayout79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3.xml"/><Relationship Id="rId9" Type="http://schemas.openxmlformats.org/officeDocument/2006/relationships/image" Target="../media/image31.pn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5" Type="http://schemas.openxmlformats.org/officeDocument/2006/relationships/image" Target="../media/image26.png"/><Relationship Id="rId4" Type="http://schemas.openxmlformats.org/officeDocument/2006/relationships/tags" Target="../tags/tag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heme" Target="../theme/theme15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1.pn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31.png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6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90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tags" Target="../tags/tag14.xml"/><Relationship Id="rId5" Type="http://schemas.openxmlformats.org/officeDocument/2006/relationships/vmlDrawing" Target="../drawings/vmlDrawing3.vml"/><Relationship Id="rId10" Type="http://schemas.openxmlformats.org/officeDocument/2006/relationships/image" Target="../media/image26.png"/><Relationship Id="rId4" Type="http://schemas.openxmlformats.org/officeDocument/2006/relationships/theme" Target="../theme/theme18.xml"/><Relationship Id="rId9" Type="http://schemas.openxmlformats.org/officeDocument/2006/relationships/image" Target="../media/image32.emf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5" Type="http://schemas.openxmlformats.org/officeDocument/2006/relationships/image" Target="../media/image33.png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heme" Target="../theme/theme20.xml"/><Relationship Id="rId7" Type="http://schemas.openxmlformats.org/officeDocument/2006/relationships/image" Target="../media/image32.emf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oleObject" Target="../embeddings/oleObject4.bin"/><Relationship Id="rId5" Type="http://schemas.openxmlformats.org/officeDocument/2006/relationships/tags" Target="../tags/tag18.xml"/><Relationship Id="rId4" Type="http://schemas.openxmlformats.org/officeDocument/2006/relationships/vmlDrawing" Target="../drawings/vmlDrawing4.v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8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5" Type="http://schemas.openxmlformats.org/officeDocument/2006/relationships/image" Target="../media/image26.png"/><Relationship Id="rId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5" Type="http://schemas.openxmlformats.org/officeDocument/2006/relationships/image" Target="../media/image26.png"/><Relationship Id="rId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slideLayout" Target="../slideLayouts/slideLayout10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tags" Target="../tags/tag23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3.xml"/><Relationship Id="rId9" Type="http://schemas.openxmlformats.org/officeDocument/2006/relationships/image" Target="../media/image26.pn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heme" Target="../theme/theme24.xml"/><Relationship Id="rId7" Type="http://schemas.openxmlformats.org/officeDocument/2006/relationships/image" Target="../media/image30.emf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oleObject" Target="../embeddings/oleObject6.bin"/><Relationship Id="rId5" Type="http://schemas.openxmlformats.org/officeDocument/2006/relationships/tags" Target="../tags/tag26.xml"/><Relationship Id="rId4" Type="http://schemas.openxmlformats.org/officeDocument/2006/relationships/vmlDrawing" Target="../drawings/vmlDrawing6.v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heme" Target="../theme/theme25.xml"/><Relationship Id="rId7" Type="http://schemas.openxmlformats.org/officeDocument/2006/relationships/image" Target="../media/image32.emf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oleObject" Target="../embeddings/oleObject7.bin"/><Relationship Id="rId5" Type="http://schemas.openxmlformats.org/officeDocument/2006/relationships/tags" Target="../tags/tag27.xml"/><Relationship Id="rId4" Type="http://schemas.openxmlformats.org/officeDocument/2006/relationships/vmlDrawing" Target="../drawings/vmlDrawing7.v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heme" Target="../theme/theme26.xml"/><Relationship Id="rId7" Type="http://schemas.openxmlformats.org/officeDocument/2006/relationships/image" Target="../media/image32.emf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oleObject" Target="../embeddings/oleObject8.bin"/><Relationship Id="rId5" Type="http://schemas.openxmlformats.org/officeDocument/2006/relationships/tags" Target="../tags/tag29.xml"/><Relationship Id="rId4" Type="http://schemas.openxmlformats.org/officeDocument/2006/relationships/vmlDrawing" Target="../drawings/vmlDrawing8.v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4" Type="http://schemas.openxmlformats.org/officeDocument/2006/relationships/theme" Target="../theme/theme2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theme" Target="../theme/theme9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slideLayout" Target="../slideLayouts/slideLayout5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slideLayout" Target="../slideLayouts/slideLayout56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slideLayout" Target="../slideLayouts/slideLayout55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19A9A67A-79D0-4577-ACD8-F49ED15A6787}" type="datetime1">
              <a:rPr lang="en-GB" smtClean="0"/>
              <a:pPr/>
              <a:t>12/08/2016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7813969" y="4692279"/>
            <a:ext cx="1080000" cy="226587"/>
            <a:chOff x="2436813" y="2125663"/>
            <a:chExt cx="4275137" cy="896937"/>
          </a:xfrm>
        </p:grpSpPr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471026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smtClean="0"/>
              <a:t>マスター タイトルの書式設定</a:t>
            </a:r>
            <a:endParaRPr lang="ru-RU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ru-RU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340572-2DB8-47F7-AAE4-6ABA831F13B0}" type="datetimeFigureOut">
              <a:rPr lang="ru-RU" smtClean="0"/>
              <a:t>12.08.2016</a:t>
            </a:fld>
            <a:endParaRPr lang="ru-RU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FEF96B-3251-4F7F-847A-447AF9421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0391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8" r:id="rId1"/>
    <p:sldLayoutId id="2147484149" r:id="rId2"/>
    <p:sldLayoutId id="2147484150" r:id="rId3"/>
    <p:sldLayoutId id="2147484151" r:id="rId4"/>
    <p:sldLayoutId id="2147484152" r:id="rId5"/>
    <p:sldLayoutId id="2147484153" r:id="rId6"/>
    <p:sldLayoutId id="2147484154" r:id="rId7"/>
    <p:sldLayoutId id="2147484155" r:id="rId8"/>
    <p:sldLayoutId id="2147484156" r:id="rId9"/>
    <p:sldLayoutId id="2147484157" r:id="rId10"/>
    <p:sldLayoutId id="214748415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7813969" y="4692279"/>
            <a:ext cx="1080000" cy="226587"/>
            <a:chOff x="2436813" y="2125663"/>
            <a:chExt cx="4275137" cy="896937"/>
          </a:xfrm>
          <a:solidFill>
            <a:srgbClr val="CC0000"/>
          </a:solidFill>
        </p:grpSpPr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795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CC00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6995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7" r:id="rId3"/>
    <p:sldLayoutId id="2147483768" r:id="rId4"/>
    <p:sldLayoutId id="2147483769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01201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1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8342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9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Oval 7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782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76120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3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Oval 7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82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82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292414" y="4873621"/>
            <a:ext cx="1304585" cy="207749"/>
          </a:xfrm>
          <a:prstGeom prst="rect">
            <a:avLst/>
          </a:prstGeom>
          <a:noFill/>
        </p:spPr>
        <p:txBody>
          <a:bodyPr wrap="square" lIns="68522" tIns="34261" rIns="68522" bIns="34261" rtlCol="0">
            <a:spAutoFit/>
          </a:bodyPr>
          <a:lstStyle/>
          <a:p>
            <a:pPr defTabSz="913882"/>
            <a:r>
              <a:rPr lang="en-GB" sz="900" dirty="0" smtClean="0">
                <a:solidFill>
                  <a:prstClr val="white">
                    <a:lumMod val="50000"/>
                  </a:prstClr>
                </a:solidFill>
              </a:rPr>
              <a:t>R2: Confidential </a:t>
            </a:r>
            <a:endParaRPr lang="en-GB" sz="9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224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6140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1297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40182852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59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7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7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59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59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59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59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253197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59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7815264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1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8" y="98781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Oval 7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1006" y="4849867"/>
            <a:ext cx="229440" cy="2295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3262" tIns="41630" rIns="83262" bIns="41630" anchor="ctr"/>
          <a:lstStyle/>
          <a:p>
            <a:pPr algn="ctr" defTabSz="913859"/>
            <a:fld id="{F923D0B4-C2E2-1442-ADE4-A778D8160E4D}" type="slidenum">
              <a:rPr lang="en-GB" sz="900" b="1" smtClean="0">
                <a:solidFill>
                  <a:prstClr val="white"/>
                </a:solidFill>
                <a:latin typeface="DendaNew"/>
                <a:cs typeface="DendaNew"/>
              </a:rPr>
              <a:pPr algn="ctr" defTabSz="913859"/>
              <a:t>‹#›</a:t>
            </a:fld>
            <a:endParaRPr lang="en-GB" sz="900" b="1" dirty="0">
              <a:solidFill>
                <a:prstClr val="white"/>
              </a:solidFill>
              <a:latin typeface="DendaNew"/>
              <a:cs typeface="DendaNew"/>
            </a:endParaRPr>
          </a:p>
        </p:txBody>
      </p:sp>
    </p:spTree>
    <p:extLst>
      <p:ext uri="{BB962C8B-B14F-4D97-AF65-F5344CB8AC3E}">
        <p14:creationId xmlns:p14="http://schemas.microsoft.com/office/powerpoint/2010/main" val="342898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3859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59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66" indent="-180866" algn="l" defTabSz="913859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66" indent="-180866" algn="l" defTabSz="913859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62" indent="-177695" algn="l" defTabSz="913859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31" indent="-180866" algn="l" defTabSz="913859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12" indent="-228464" algn="l" defTabSz="9138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42" indent="-228464" algn="l" defTabSz="9138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71" indent="-228464" algn="l" defTabSz="9138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01" indent="-228464" algn="l" defTabSz="9138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1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9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90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19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47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76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07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36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4959" y="4423934"/>
            <a:ext cx="2309887" cy="575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478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CC00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/>
              <a:pPr/>
              <a:t>12/08/2016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7813969" y="4692279"/>
            <a:ext cx="1080000" cy="226587"/>
            <a:chOff x="2436813" y="2125663"/>
            <a:chExt cx="4275137" cy="896937"/>
          </a:xfrm>
          <a:solidFill>
            <a:srgbClr val="CC0000"/>
          </a:solidFill>
        </p:grpSpPr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53651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CC00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511538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92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686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3207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7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3639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945808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59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7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7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59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59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59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59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253197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59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7815264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59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8" y="98781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2923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3859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59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66" indent="-180866" algn="l" defTabSz="913859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66" indent="-180866" algn="l" defTabSz="913859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62" indent="-177695" algn="l" defTabSz="913859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31" indent="-180866" algn="l" defTabSz="913859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12" indent="-228464" algn="l" defTabSz="9138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42" indent="-228464" algn="l" defTabSz="9138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71" indent="-228464" algn="l" defTabSz="9138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01" indent="-228464" algn="l" defTabSz="9138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1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9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90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19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47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76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07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36" algn="l" defTabSz="9138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27947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2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52633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417514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1052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55365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9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388" tIns="45696" rIns="91388" bIns="45696" numCol="1" anchor="t" anchorCtr="0" compatLnSpc="1">
            <a:prstTxWarp prst="textNoShape">
              <a:avLst/>
            </a:prstTxWarp>
          </a:bodyPr>
          <a:lstStyle/>
          <a:p>
            <a:pPr defTabSz="913882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6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6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8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pPr defTabSz="913882"/>
            <a:fld id="{19A9A67A-79D0-4577-ACD8-F49ED15A6787}" type="datetime1">
              <a:rPr lang="en-GB" smtClean="0">
                <a:solidFill>
                  <a:prstClr val="black"/>
                </a:solidFill>
              </a:rPr>
              <a:pPr defTabSz="913882"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8" y="2503878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pPr defTabSz="913882"/>
            <a:fld id="{4EF1CEF9-05AB-4E0D-B3C5-A103F37606CF}" type="slidenum">
              <a:rPr lang="en-GB" smtClean="0">
                <a:solidFill>
                  <a:prstClr val="white"/>
                </a:solidFill>
              </a:rPr>
              <a:pPr defTabSz="913882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5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6" rIns="91388" bIns="45696" rtlCol="0" anchor="ctr"/>
          <a:lstStyle/>
          <a:p>
            <a:pPr algn="ctr" defTabSz="913882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82"/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6577" y="98780"/>
            <a:ext cx="1304341" cy="3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940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913882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3882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871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571" indent="-177700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44" indent="-180871" algn="l" defTabSz="913882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5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6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8" indent="-228469" algn="l" defTabSz="9138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2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4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5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7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8" algn="l" defTabSz="9138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19A9A67A-79D0-4577-ACD8-F49ED15A6787}" type="datetime1">
              <a:rPr lang="en-GB" smtClean="0">
                <a:solidFill>
                  <a:prstClr val="white"/>
                </a:solidFill>
              </a:rPr>
              <a:pPr/>
              <a:t>12/08/2016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7813969" y="4692279"/>
            <a:ext cx="1080000" cy="226587"/>
            <a:chOff x="2436813" y="2125663"/>
            <a:chExt cx="4275137" cy="896937"/>
          </a:xfrm>
        </p:grpSpPr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2436813" y="2125663"/>
              <a:ext cx="1058862" cy="896937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471863" y="2279650"/>
              <a:ext cx="855662" cy="735012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4237038" y="2279650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5880100" y="2279650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5178425" y="2279650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3302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F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00B2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/>
              <a:pPr/>
              <a:t>12/08/2016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877602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6F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/>
              <a:pPr/>
              <a:t>12/08/2016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241465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F1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/>
              <a:pPr/>
              <a:t>12/08/2016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822188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DF2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/>
              <a:pPr/>
              <a:t>12/08/2016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55787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A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/>
              <a:pPr/>
              <a:t>12/08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24407"/>
            <a:ext cx="2895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Presentation information in footer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28063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6E8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/>
              <a:pPr/>
              <a:t>12/08/2016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Oval 6"/>
          <p:cNvSpPr/>
          <p:nvPr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276893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>
            <a:spLocks/>
          </p:cNvSpPr>
          <p:nvPr userDrawn="1"/>
        </p:nvSpPr>
        <p:spPr bwMode="auto">
          <a:xfrm>
            <a:off x="8863806" y="2291557"/>
            <a:ext cx="280194" cy="560386"/>
          </a:xfrm>
          <a:custGeom>
            <a:avLst/>
            <a:gdLst>
              <a:gd name="T0" fmla="*/ 818 w 818"/>
              <a:gd name="T1" fmla="*/ 0 h 1635"/>
              <a:gd name="T2" fmla="*/ 0 w 818"/>
              <a:gd name="T3" fmla="*/ 818 h 1635"/>
              <a:gd name="T4" fmla="*/ 818 w 818"/>
              <a:gd name="T5" fmla="*/ 1635 h 1635"/>
              <a:gd name="T6" fmla="*/ 818 w 818"/>
              <a:gd name="T7" fmla="*/ 0 h 1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8" h="1635">
                <a:moveTo>
                  <a:pt x="818" y="0"/>
                </a:moveTo>
                <a:cubicBezTo>
                  <a:pt x="366" y="0"/>
                  <a:pt x="0" y="366"/>
                  <a:pt x="0" y="818"/>
                </a:cubicBezTo>
                <a:cubicBezTo>
                  <a:pt x="0" y="1269"/>
                  <a:pt x="366" y="1635"/>
                  <a:pt x="818" y="1635"/>
                </a:cubicBezTo>
                <a:lnTo>
                  <a:pt x="818" y="0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412" y="339501"/>
            <a:ext cx="8640067" cy="870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412" y="1200151"/>
            <a:ext cx="8640067" cy="3362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5200" y="4824407"/>
            <a:ext cx="2133600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19A9A67A-79D0-4577-ACD8-F49ED15A6787}" type="datetime1">
              <a:rPr lang="en-GB" smtClean="0">
                <a:solidFill>
                  <a:prstClr val="black"/>
                </a:solidFill>
              </a:rPr>
              <a:pPr/>
              <a:t>12/08/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7777" y="2503877"/>
            <a:ext cx="226224" cy="2107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4EF1CEF9-05AB-4E0D-B3C5-A103F37606C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3196" y="219204"/>
            <a:ext cx="72008" cy="72008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815263" y="4692550"/>
            <a:ext cx="1078706" cy="226316"/>
            <a:chOff x="4621213" y="3657600"/>
            <a:chExt cx="4275137" cy="896938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4621213" y="3657600"/>
              <a:ext cx="1058862" cy="896938"/>
            </a:xfrm>
            <a:custGeom>
              <a:avLst/>
              <a:gdLst>
                <a:gd name="T0" fmla="*/ 186 w 282"/>
                <a:gd name="T1" fmla="*/ 215 h 239"/>
                <a:gd name="T2" fmla="*/ 90 w 282"/>
                <a:gd name="T3" fmla="*/ 119 h 239"/>
                <a:gd name="T4" fmla="*/ 186 w 282"/>
                <a:gd name="T5" fmla="*/ 24 h 239"/>
                <a:gd name="T6" fmla="*/ 237 w 282"/>
                <a:gd name="T7" fmla="*/ 38 h 239"/>
                <a:gd name="T8" fmla="*/ 186 w 282"/>
                <a:gd name="T9" fmla="*/ 119 h 239"/>
                <a:gd name="T10" fmla="*/ 282 w 282"/>
                <a:gd name="T11" fmla="*/ 64 h 239"/>
                <a:gd name="T12" fmla="*/ 239 w 282"/>
                <a:gd name="T13" fmla="*/ 22 h 239"/>
                <a:gd name="T14" fmla="*/ 149 w 282"/>
                <a:gd name="T15" fmla="*/ 0 h 239"/>
                <a:gd name="T16" fmla="*/ 29 w 282"/>
                <a:gd name="T17" fmla="*/ 46 h 239"/>
                <a:gd name="T18" fmla="*/ 0 w 282"/>
                <a:gd name="T19" fmla="*/ 119 h 239"/>
                <a:gd name="T20" fmla="*/ 29 w 282"/>
                <a:gd name="T21" fmla="*/ 193 h 239"/>
                <a:gd name="T22" fmla="*/ 147 w 282"/>
                <a:gd name="T23" fmla="*/ 239 h 239"/>
                <a:gd name="T24" fmla="*/ 265 w 282"/>
                <a:gd name="T25" fmla="*/ 193 h 239"/>
                <a:gd name="T26" fmla="*/ 269 w 282"/>
                <a:gd name="T27" fmla="*/ 188 h 239"/>
                <a:gd name="T28" fmla="*/ 265 w 282"/>
                <a:gd name="T29" fmla="*/ 174 h 239"/>
                <a:gd name="T30" fmla="*/ 186 w 282"/>
                <a:gd name="T31" fmla="*/ 21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239">
                  <a:moveTo>
                    <a:pt x="186" y="215"/>
                  </a:moveTo>
                  <a:cubicBezTo>
                    <a:pt x="133" y="215"/>
                    <a:pt x="90" y="172"/>
                    <a:pt x="90" y="119"/>
                  </a:cubicBezTo>
                  <a:cubicBezTo>
                    <a:pt x="90" y="66"/>
                    <a:pt x="133" y="24"/>
                    <a:pt x="186" y="24"/>
                  </a:cubicBezTo>
                  <a:cubicBezTo>
                    <a:pt x="205" y="24"/>
                    <a:pt x="222" y="29"/>
                    <a:pt x="237" y="38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72" y="48"/>
                    <a:pt x="257" y="33"/>
                    <a:pt x="239" y="22"/>
                  </a:cubicBezTo>
                  <a:cubicBezTo>
                    <a:pt x="216" y="9"/>
                    <a:pt x="184" y="0"/>
                    <a:pt x="149" y="0"/>
                  </a:cubicBezTo>
                  <a:cubicBezTo>
                    <a:pt x="98" y="0"/>
                    <a:pt x="54" y="19"/>
                    <a:pt x="29" y="46"/>
                  </a:cubicBezTo>
                  <a:cubicBezTo>
                    <a:pt x="11" y="66"/>
                    <a:pt x="0" y="92"/>
                    <a:pt x="0" y="119"/>
                  </a:cubicBezTo>
                  <a:cubicBezTo>
                    <a:pt x="0" y="147"/>
                    <a:pt x="11" y="173"/>
                    <a:pt x="29" y="193"/>
                  </a:cubicBezTo>
                  <a:cubicBezTo>
                    <a:pt x="54" y="220"/>
                    <a:pt x="98" y="239"/>
                    <a:pt x="147" y="239"/>
                  </a:cubicBezTo>
                  <a:cubicBezTo>
                    <a:pt x="197" y="239"/>
                    <a:pt x="240" y="220"/>
                    <a:pt x="265" y="193"/>
                  </a:cubicBezTo>
                  <a:cubicBezTo>
                    <a:pt x="266" y="191"/>
                    <a:pt x="267" y="190"/>
                    <a:pt x="269" y="188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48" y="199"/>
                    <a:pt x="219" y="215"/>
                    <a:pt x="186" y="215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5656263" y="3811588"/>
              <a:ext cx="855662" cy="735013"/>
            </a:xfrm>
            <a:custGeom>
              <a:avLst/>
              <a:gdLst>
                <a:gd name="T0" fmla="*/ 228 w 228"/>
                <a:gd name="T1" fmla="*/ 192 h 196"/>
                <a:gd name="T2" fmla="*/ 188 w 228"/>
                <a:gd name="T3" fmla="*/ 42 h 196"/>
                <a:gd name="T4" fmla="*/ 133 w 228"/>
                <a:gd name="T5" fmla="*/ 0 h 196"/>
                <a:gd name="T6" fmla="*/ 113 w 228"/>
                <a:gd name="T7" fmla="*/ 3 h 196"/>
                <a:gd name="T8" fmla="*/ 27 w 228"/>
                <a:gd name="T9" fmla="*/ 35 h 196"/>
                <a:gd name="T10" fmla="*/ 116 w 228"/>
                <a:gd name="T11" fmla="*/ 35 h 196"/>
                <a:gd name="T12" fmla="*/ 131 w 228"/>
                <a:gd name="T13" fmla="*/ 92 h 196"/>
                <a:gd name="T14" fmla="*/ 76 w 228"/>
                <a:gd name="T15" fmla="*/ 71 h 196"/>
                <a:gd name="T16" fmla="*/ 0 w 228"/>
                <a:gd name="T17" fmla="*/ 134 h 196"/>
                <a:gd name="T18" fmla="*/ 76 w 228"/>
                <a:gd name="T19" fmla="*/ 196 h 196"/>
                <a:gd name="T20" fmla="*/ 149 w 228"/>
                <a:gd name="T21" fmla="*/ 159 h 196"/>
                <a:gd name="T22" fmla="*/ 158 w 228"/>
                <a:gd name="T23" fmla="*/ 192 h 196"/>
                <a:gd name="T24" fmla="*/ 228 w 228"/>
                <a:gd name="T25" fmla="*/ 192 h 196"/>
                <a:gd name="T26" fmla="*/ 105 w 228"/>
                <a:gd name="T27" fmla="*/ 169 h 196"/>
                <a:gd name="T28" fmla="*/ 70 w 228"/>
                <a:gd name="T29" fmla="*/ 134 h 196"/>
                <a:gd name="T30" fmla="*/ 105 w 228"/>
                <a:gd name="T31" fmla="*/ 99 h 196"/>
                <a:gd name="T32" fmla="*/ 140 w 228"/>
                <a:gd name="T33" fmla="*/ 134 h 196"/>
                <a:gd name="T34" fmla="*/ 105 w 228"/>
                <a:gd name="T35" fmla="*/ 16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" h="196">
                  <a:moveTo>
                    <a:pt x="228" y="192"/>
                  </a:moveTo>
                  <a:cubicBezTo>
                    <a:pt x="188" y="42"/>
                    <a:pt x="188" y="42"/>
                    <a:pt x="188" y="42"/>
                  </a:cubicBezTo>
                  <a:cubicBezTo>
                    <a:pt x="181" y="18"/>
                    <a:pt x="159" y="0"/>
                    <a:pt x="133" y="0"/>
                  </a:cubicBezTo>
                  <a:cubicBezTo>
                    <a:pt x="126" y="0"/>
                    <a:pt x="119" y="1"/>
                    <a:pt x="113" y="3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16" y="79"/>
                    <a:pt x="97" y="71"/>
                    <a:pt x="76" y="71"/>
                  </a:cubicBezTo>
                  <a:cubicBezTo>
                    <a:pt x="34" y="71"/>
                    <a:pt x="0" y="99"/>
                    <a:pt x="0" y="134"/>
                  </a:cubicBezTo>
                  <a:cubicBezTo>
                    <a:pt x="0" y="168"/>
                    <a:pt x="34" y="196"/>
                    <a:pt x="76" y="196"/>
                  </a:cubicBezTo>
                  <a:cubicBezTo>
                    <a:pt x="106" y="196"/>
                    <a:pt x="133" y="181"/>
                    <a:pt x="149" y="159"/>
                  </a:cubicBezTo>
                  <a:cubicBezTo>
                    <a:pt x="158" y="192"/>
                    <a:pt x="158" y="192"/>
                    <a:pt x="158" y="192"/>
                  </a:cubicBezTo>
                  <a:lnTo>
                    <a:pt x="228" y="192"/>
                  </a:lnTo>
                  <a:close/>
                  <a:moveTo>
                    <a:pt x="105" y="169"/>
                  </a:moveTo>
                  <a:cubicBezTo>
                    <a:pt x="86" y="169"/>
                    <a:pt x="70" y="153"/>
                    <a:pt x="70" y="134"/>
                  </a:cubicBezTo>
                  <a:cubicBezTo>
                    <a:pt x="70" y="114"/>
                    <a:pt x="86" y="99"/>
                    <a:pt x="105" y="99"/>
                  </a:cubicBezTo>
                  <a:cubicBezTo>
                    <a:pt x="124" y="99"/>
                    <a:pt x="140" y="114"/>
                    <a:pt x="140" y="134"/>
                  </a:cubicBezTo>
                  <a:cubicBezTo>
                    <a:pt x="140" y="153"/>
                    <a:pt x="124" y="169"/>
                    <a:pt x="105" y="169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421438" y="3811588"/>
              <a:ext cx="833437" cy="720725"/>
            </a:xfrm>
            <a:custGeom>
              <a:avLst/>
              <a:gdLst>
                <a:gd name="T0" fmla="*/ 187 w 222"/>
                <a:gd name="T1" fmla="*/ 0 h 192"/>
                <a:gd name="T2" fmla="*/ 173 w 222"/>
                <a:gd name="T3" fmla="*/ 3 h 192"/>
                <a:gd name="T4" fmla="*/ 117 w 222"/>
                <a:gd name="T5" fmla="*/ 29 h 192"/>
                <a:gd name="T6" fmla="*/ 83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8 w 222"/>
                <a:gd name="T13" fmla="*/ 35 h 192"/>
                <a:gd name="T14" fmla="*/ 48 w 222"/>
                <a:gd name="T15" fmla="*/ 192 h 192"/>
                <a:gd name="T16" fmla="*/ 118 w 222"/>
                <a:gd name="T17" fmla="*/ 192 h 192"/>
                <a:gd name="T18" fmla="*/ 118 w 222"/>
                <a:gd name="T19" fmla="*/ 52 h 192"/>
                <a:gd name="T20" fmla="*/ 135 w 222"/>
                <a:gd name="T21" fmla="*/ 35 h 192"/>
                <a:gd name="T22" fmla="*/ 153 w 222"/>
                <a:gd name="T23" fmla="*/ 52 h 192"/>
                <a:gd name="T24" fmla="*/ 153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3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5" y="13"/>
                    <a:pt x="100" y="0"/>
                    <a:pt x="83" y="0"/>
                  </a:cubicBezTo>
                  <a:cubicBezTo>
                    <a:pt x="78" y="0"/>
                    <a:pt x="73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192"/>
                    <a:pt x="48" y="192"/>
                    <a:pt x="48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43"/>
                    <a:pt x="126" y="35"/>
                    <a:pt x="135" y="35"/>
                  </a:cubicBezTo>
                  <a:cubicBezTo>
                    <a:pt x="145" y="35"/>
                    <a:pt x="153" y="43"/>
                    <a:pt x="153" y="52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7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8064500" y="3811588"/>
              <a:ext cx="831850" cy="720725"/>
            </a:xfrm>
            <a:custGeom>
              <a:avLst/>
              <a:gdLst>
                <a:gd name="T0" fmla="*/ 187 w 222"/>
                <a:gd name="T1" fmla="*/ 0 h 192"/>
                <a:gd name="T2" fmla="*/ 172 w 222"/>
                <a:gd name="T3" fmla="*/ 3 h 192"/>
                <a:gd name="T4" fmla="*/ 117 w 222"/>
                <a:gd name="T5" fmla="*/ 29 h 192"/>
                <a:gd name="T6" fmla="*/ 82 w 222"/>
                <a:gd name="T7" fmla="*/ 0 h 192"/>
                <a:gd name="T8" fmla="*/ 68 w 222"/>
                <a:gd name="T9" fmla="*/ 3 h 192"/>
                <a:gd name="T10" fmla="*/ 0 w 222"/>
                <a:gd name="T11" fmla="*/ 35 h 192"/>
                <a:gd name="T12" fmla="*/ 47 w 222"/>
                <a:gd name="T13" fmla="*/ 35 h 192"/>
                <a:gd name="T14" fmla="*/ 47 w 222"/>
                <a:gd name="T15" fmla="*/ 192 h 192"/>
                <a:gd name="T16" fmla="*/ 117 w 222"/>
                <a:gd name="T17" fmla="*/ 192 h 192"/>
                <a:gd name="T18" fmla="*/ 117 w 222"/>
                <a:gd name="T19" fmla="*/ 52 h 192"/>
                <a:gd name="T20" fmla="*/ 135 w 222"/>
                <a:gd name="T21" fmla="*/ 35 h 192"/>
                <a:gd name="T22" fmla="*/ 152 w 222"/>
                <a:gd name="T23" fmla="*/ 52 h 192"/>
                <a:gd name="T24" fmla="*/ 152 w 222"/>
                <a:gd name="T25" fmla="*/ 192 h 192"/>
                <a:gd name="T26" fmla="*/ 222 w 222"/>
                <a:gd name="T27" fmla="*/ 192 h 192"/>
                <a:gd name="T28" fmla="*/ 222 w 222"/>
                <a:gd name="T29" fmla="*/ 35 h 192"/>
                <a:gd name="T30" fmla="*/ 187 w 222"/>
                <a:gd name="T3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192">
                  <a:moveTo>
                    <a:pt x="187" y="0"/>
                  </a:moveTo>
                  <a:cubicBezTo>
                    <a:pt x="182" y="0"/>
                    <a:pt x="177" y="1"/>
                    <a:pt x="172" y="3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4" y="13"/>
                    <a:pt x="100" y="0"/>
                    <a:pt x="82" y="0"/>
                  </a:cubicBezTo>
                  <a:cubicBezTo>
                    <a:pt x="77" y="0"/>
                    <a:pt x="72" y="1"/>
                    <a:pt x="68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43"/>
                    <a:pt x="125" y="35"/>
                    <a:pt x="135" y="35"/>
                  </a:cubicBezTo>
                  <a:cubicBezTo>
                    <a:pt x="144" y="35"/>
                    <a:pt x="152" y="43"/>
                    <a:pt x="152" y="52"/>
                  </a:cubicBezTo>
                  <a:cubicBezTo>
                    <a:pt x="152" y="192"/>
                    <a:pt x="152" y="192"/>
                    <a:pt x="152" y="192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22" y="16"/>
                    <a:pt x="206" y="0"/>
                    <a:pt x="187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7362825" y="3811588"/>
              <a:ext cx="742950" cy="742950"/>
            </a:xfrm>
            <a:custGeom>
              <a:avLst/>
              <a:gdLst>
                <a:gd name="T0" fmla="*/ 198 w 198"/>
                <a:gd name="T1" fmla="*/ 99 h 198"/>
                <a:gd name="T2" fmla="*/ 99 w 198"/>
                <a:gd name="T3" fmla="*/ 198 h 198"/>
                <a:gd name="T4" fmla="*/ 0 w 198"/>
                <a:gd name="T5" fmla="*/ 99 h 198"/>
                <a:gd name="T6" fmla="*/ 99 w 198"/>
                <a:gd name="T7" fmla="*/ 0 h 198"/>
                <a:gd name="T8" fmla="*/ 198 w 198"/>
                <a:gd name="T9" fmla="*/ 99 h 198"/>
                <a:gd name="T10" fmla="*/ 103 w 198"/>
                <a:gd name="T11" fmla="*/ 30 h 198"/>
                <a:gd name="T12" fmla="*/ 77 w 198"/>
                <a:gd name="T13" fmla="*/ 15 h 198"/>
                <a:gd name="T14" fmla="*/ 61 w 198"/>
                <a:gd name="T15" fmla="*/ 41 h 198"/>
                <a:gd name="T16" fmla="*/ 95 w 198"/>
                <a:gd name="T17" fmla="*/ 168 h 198"/>
                <a:gd name="T18" fmla="*/ 122 w 198"/>
                <a:gd name="T19" fmla="*/ 183 h 198"/>
                <a:gd name="T20" fmla="*/ 137 w 198"/>
                <a:gd name="T21" fmla="*/ 156 h 198"/>
                <a:gd name="T22" fmla="*/ 103 w 198"/>
                <a:gd name="T2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98">
                  <a:moveTo>
                    <a:pt x="198" y="99"/>
                  </a:moveTo>
                  <a:cubicBezTo>
                    <a:pt x="198" y="153"/>
                    <a:pt x="154" y="198"/>
                    <a:pt x="99" y="198"/>
                  </a:cubicBezTo>
                  <a:cubicBezTo>
                    <a:pt x="45" y="198"/>
                    <a:pt x="0" y="153"/>
                    <a:pt x="0" y="99"/>
                  </a:cubicBezTo>
                  <a:cubicBezTo>
                    <a:pt x="0" y="44"/>
                    <a:pt x="45" y="0"/>
                    <a:pt x="99" y="0"/>
                  </a:cubicBezTo>
                  <a:cubicBezTo>
                    <a:pt x="154" y="0"/>
                    <a:pt x="198" y="44"/>
                    <a:pt x="198" y="99"/>
                  </a:cubicBezTo>
                  <a:close/>
                  <a:moveTo>
                    <a:pt x="103" y="30"/>
                  </a:moveTo>
                  <a:cubicBezTo>
                    <a:pt x="100" y="18"/>
                    <a:pt x="88" y="11"/>
                    <a:pt x="77" y="15"/>
                  </a:cubicBezTo>
                  <a:cubicBezTo>
                    <a:pt x="65" y="18"/>
                    <a:pt x="58" y="30"/>
                    <a:pt x="61" y="41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8" y="179"/>
                    <a:pt x="110" y="186"/>
                    <a:pt x="122" y="183"/>
                  </a:cubicBezTo>
                  <a:cubicBezTo>
                    <a:pt x="134" y="180"/>
                    <a:pt x="140" y="168"/>
                    <a:pt x="137" y="156"/>
                  </a:cubicBezTo>
                  <a:lnTo>
                    <a:pt x="103" y="3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8638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4146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4083" r:id="rId22"/>
    <p:sldLayoutId id="2147484084" r:id="rId23"/>
    <p:sldLayoutId id="2147484085" r:id="rId24"/>
    <p:sldLayoutId id="2147484086" r:id="rId25"/>
    <p:sldLayoutId id="2147484087" r:id="rId26"/>
    <p:sldLayoutId id="2147484089" r:id="rId27"/>
    <p:sldLayoutId id="2147484090" r:id="rId28"/>
    <p:sldLayoutId id="2147484091" r:id="rId29"/>
    <p:sldLayoutId id="2147484092" r:id="rId30"/>
    <p:sldLayoutId id="2147484094" r:id="rId31"/>
    <p:sldLayoutId id="2147484142" r:id="rId32"/>
    <p:sldLayoutId id="2147484174" r:id="rId33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780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ilton.ru/hotels/doubletree-by-hilton-ekaterinburg/#location-and-transpor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6.xml"/><Relationship Id="rId4" Type="http://schemas.openxmlformats.org/officeDocument/2006/relationships/hyperlink" Target="mailto:Ekaterina.Gosteva@canon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Семинар по печатающей технике </a:t>
            </a:r>
            <a:r>
              <a:rPr lang="en-US" dirty="0" smtClean="0"/>
              <a:t>Canon</a:t>
            </a:r>
            <a:r>
              <a:rPr lang="ru-RU" dirty="0" smtClean="0"/>
              <a:t> </a:t>
            </a:r>
            <a:br>
              <a:rPr lang="ru-RU" dirty="0" smtClean="0"/>
            </a:br>
            <a:r>
              <a:rPr lang="ru-RU" dirty="0" smtClean="0"/>
              <a:t>в Екатеринбурге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24 августа, 2016 года</a:t>
            </a:r>
            <a:endParaRPr lang="ru-RU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4294967295"/>
          </p:nvPr>
        </p:nvSpPr>
        <p:spPr>
          <a:xfrm>
            <a:off x="8918575" y="2536825"/>
            <a:ext cx="225425" cy="209550"/>
          </a:xfrm>
        </p:spPr>
        <p:txBody>
          <a:bodyPr/>
          <a:lstStyle/>
          <a:p>
            <a:fld id="{4EF1CEF9-05AB-4E0D-B3C5-A103F37606CF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7197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822" y="456945"/>
            <a:ext cx="8115615" cy="272897"/>
          </a:xfrm>
        </p:spPr>
        <p:txBody>
          <a:bodyPr/>
          <a:lstStyle/>
          <a:p>
            <a:r>
              <a:rPr lang="ru-RU" sz="1200" b="1" dirty="0"/>
              <a:t>Уважаемые партнеры</a:t>
            </a:r>
            <a:r>
              <a:rPr lang="ru-RU" sz="1200" b="1" dirty="0" smtClean="0"/>
              <a:t>!</a:t>
            </a:r>
            <a:br>
              <a:rPr lang="ru-RU" sz="1200" b="1" dirty="0" smtClean="0"/>
            </a:br>
            <a:r>
              <a:rPr lang="ru-RU" sz="1200" dirty="0"/>
              <a:t/>
            </a:r>
            <a:br>
              <a:rPr lang="ru-RU" sz="1200" dirty="0"/>
            </a:br>
            <a:r>
              <a:rPr lang="ru-RU" sz="1200" dirty="0"/>
              <a:t>Приглашаем Вас на </a:t>
            </a:r>
            <a:r>
              <a:rPr lang="ru-RU" sz="1200" dirty="0" smtClean="0"/>
              <a:t>семинар</a:t>
            </a:r>
            <a:r>
              <a:rPr lang="ru-RU" sz="1200" dirty="0"/>
              <a:t>, посвящённый </a:t>
            </a:r>
            <a:r>
              <a:rPr lang="ru-RU" sz="1200" b="1" dirty="0" smtClean="0"/>
              <a:t>печатающей струйной и лазерной технике</a:t>
            </a:r>
            <a:r>
              <a:rPr lang="en-US" sz="1200" b="1" dirty="0" smtClean="0"/>
              <a:t> Canon PIXMA</a:t>
            </a:r>
            <a:r>
              <a:rPr lang="en-US" sz="1200" b="1" dirty="0"/>
              <a:t>, </a:t>
            </a:r>
            <a:r>
              <a:rPr lang="en-US" sz="1200" b="1" dirty="0" smtClean="0"/>
              <a:t>I-</a:t>
            </a:r>
            <a:r>
              <a:rPr lang="en-US" sz="1200" b="1" dirty="0" err="1" smtClean="0"/>
              <a:t>Sensys</a:t>
            </a:r>
            <a:r>
              <a:rPr lang="en-US" sz="1200" b="1" dirty="0" smtClean="0"/>
              <a:t>, MAXIFY</a:t>
            </a:r>
            <a:r>
              <a:rPr lang="ru-RU" sz="1200" dirty="0" smtClean="0"/>
              <a:t>, </a:t>
            </a:r>
            <a:r>
              <a:rPr lang="ru-RU" sz="1200" dirty="0"/>
              <a:t>который состоится в </a:t>
            </a:r>
            <a:r>
              <a:rPr lang="ru-RU" sz="1200" dirty="0" smtClean="0"/>
              <a:t>г. Екатеринбург,  24 августа 2016г. </a:t>
            </a:r>
            <a:br>
              <a:rPr lang="ru-RU" sz="1200" dirty="0" smtClean="0"/>
            </a:br>
            <a:r>
              <a:rPr lang="ru-RU" sz="1200" dirty="0"/>
              <a:t/>
            </a:r>
            <a:br>
              <a:rPr lang="ru-RU" sz="1200" dirty="0"/>
            </a:br>
            <a:r>
              <a:rPr lang="ru-RU" sz="1200" dirty="0" smtClean="0"/>
              <a:t>В рамках семинара ВЫ сможете узнать о преимуществах и возможностях бизнеса с печатающей техникой </a:t>
            </a:r>
            <a:r>
              <a:rPr lang="en-US" sz="1200" dirty="0" smtClean="0"/>
              <a:t>Canon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ru-RU" sz="1200" dirty="0" smtClean="0"/>
              <a:t>Познакомиться с новым ассортиментом, который был выпущен в 2016 году</a:t>
            </a:r>
            <a:br>
              <a:rPr lang="ru-RU" sz="1200" dirty="0" smtClean="0"/>
            </a:br>
            <a:r>
              <a:rPr lang="ru-RU" sz="1200" dirty="0" smtClean="0"/>
              <a:t>Разобраться в общей стратегии </a:t>
            </a:r>
            <a:r>
              <a:rPr lang="en-US" sz="1200" dirty="0" smtClean="0"/>
              <a:t>Canon </a:t>
            </a:r>
            <a:r>
              <a:rPr lang="ru-RU" sz="1200" dirty="0" smtClean="0"/>
              <a:t>по продвижению печатающей техники в России</a:t>
            </a:r>
            <a:br>
              <a:rPr lang="ru-RU" sz="1200" dirty="0" smtClean="0"/>
            </a:br>
            <a:r>
              <a:rPr lang="ru-RU" sz="1200" dirty="0" smtClean="0"/>
              <a:t>Узнать о текущих рыночных тенденциях и планах компании </a:t>
            </a:r>
            <a:r>
              <a:rPr lang="en-US" sz="1200" dirty="0" smtClean="0"/>
              <a:t>Canon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Лично задать интересующие вопросы и поделиться опытом с представителями компании</a:t>
            </a:r>
            <a:r>
              <a:rPr lang="en-US" sz="1200" dirty="0" smtClean="0"/>
              <a:t>:</a:t>
            </a:r>
            <a:r>
              <a:rPr lang="ru-RU" sz="1200" dirty="0" smtClean="0"/>
              <a:t> как отдела продаж, так и продуктового маркетинга</a:t>
            </a:r>
            <a:br>
              <a:rPr lang="ru-RU" sz="1200" dirty="0" smtClean="0"/>
            </a:br>
            <a:r>
              <a:rPr lang="ru-RU" sz="1200" dirty="0"/>
              <a:t>Принять участие в демонстрации новых </a:t>
            </a:r>
            <a:r>
              <a:rPr lang="ru-RU" sz="1200" dirty="0" smtClean="0"/>
              <a:t>печатающих устройств</a:t>
            </a:r>
            <a:br>
              <a:rPr lang="ru-RU" sz="1200" dirty="0" smtClean="0"/>
            </a:br>
            <a:r>
              <a:rPr lang="ru-RU" sz="1200" dirty="0"/>
              <a:t/>
            </a:r>
            <a:br>
              <a:rPr lang="ru-RU" sz="1200" dirty="0"/>
            </a:br>
            <a:r>
              <a:rPr lang="ru-RU" sz="1200" b="1" dirty="0"/>
              <a:t>Дата мероприятия</a:t>
            </a:r>
            <a:r>
              <a:rPr lang="ru-RU" sz="1200" dirty="0"/>
              <a:t>: </a:t>
            </a:r>
            <a:r>
              <a:rPr lang="ru-RU" sz="1200" dirty="0" smtClean="0"/>
              <a:t>24 августа, 2016 года </a:t>
            </a:r>
            <a:r>
              <a:rPr lang="ru-RU" sz="1200" dirty="0"/>
              <a:t/>
            </a:r>
            <a:br>
              <a:rPr lang="ru-RU" sz="1200" dirty="0"/>
            </a:br>
            <a:r>
              <a:rPr lang="ru-RU" sz="1200" b="1" dirty="0"/>
              <a:t>Место проведения:</a:t>
            </a:r>
            <a:r>
              <a:rPr lang="ru-RU" sz="1200" dirty="0"/>
              <a:t> </a:t>
            </a:r>
            <a:r>
              <a:rPr lang="en-US" sz="1200" dirty="0" err="1"/>
              <a:t>DoubleTree</a:t>
            </a:r>
            <a:r>
              <a:rPr lang="en-US" sz="1200" dirty="0"/>
              <a:t> by Hilton Hotel </a:t>
            </a:r>
            <a:r>
              <a:rPr lang="en-US" sz="1200" dirty="0" smtClean="0"/>
              <a:t>Ekaterinburg, </a:t>
            </a:r>
            <a:r>
              <a:rPr lang="ru-RU" sz="1200" dirty="0" smtClean="0"/>
              <a:t>зал </a:t>
            </a:r>
            <a:r>
              <a:rPr lang="ru-RU" sz="1200" dirty="0"/>
              <a:t>Москва  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ru-RU" sz="1200" dirty="0" smtClean="0"/>
              <a:t>просп</a:t>
            </a:r>
            <a:r>
              <a:rPr lang="ru-RU" sz="1200" dirty="0"/>
              <a:t>. Ленина, </a:t>
            </a:r>
            <a:r>
              <a:rPr lang="ru-RU" sz="1200" dirty="0" smtClean="0"/>
              <a:t>9A г. Екатеринбург</a:t>
            </a:r>
            <a:br>
              <a:rPr lang="ru-RU" sz="1200" dirty="0" smtClean="0"/>
            </a:b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>
                <a:hlinkClick r:id="rId3"/>
              </a:rPr>
              <a:t>http://www.hilton.ru/hotels/doubletree-by-hilton-ekaterinburg/#</a:t>
            </a:r>
            <a:r>
              <a:rPr lang="en-US" sz="1200" dirty="0" smtClean="0">
                <a:hlinkClick r:id="rId3"/>
              </a:rPr>
              <a:t>location-and-transport</a:t>
            </a:r>
            <a:r>
              <a:rPr lang="en-US" sz="1200" dirty="0" smtClean="0"/>
              <a:t>  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b="1" dirty="0"/>
              <a:t>Время</a:t>
            </a:r>
            <a:r>
              <a:rPr lang="en-US" sz="1200" b="1" dirty="0"/>
              <a:t>:</a:t>
            </a:r>
            <a:r>
              <a:rPr lang="en-US" sz="1200" dirty="0" smtClean="0"/>
              <a:t> 14.00 – 19.00 </a:t>
            </a:r>
            <a:r>
              <a:rPr lang="ru-RU" sz="1200" dirty="0"/>
              <a:t/>
            </a:r>
            <a:br>
              <a:rPr lang="ru-RU" sz="1200" dirty="0"/>
            </a:br>
            <a:r>
              <a:rPr lang="ru-RU" sz="1200" dirty="0"/>
              <a:t/>
            </a:r>
            <a:br>
              <a:rPr lang="ru-RU" sz="1200" dirty="0"/>
            </a:br>
            <a:r>
              <a:rPr lang="ru-RU" sz="1200" b="1" dirty="0"/>
              <a:t>Регистрация на мероприятие является обязательной! </a:t>
            </a:r>
            <a:r>
              <a:rPr lang="ru-RU" sz="1200" b="1" dirty="0" smtClean="0"/>
              <a:t> </a:t>
            </a:r>
            <a:br>
              <a:rPr lang="ru-RU" sz="1200" b="1" dirty="0" smtClean="0"/>
            </a:br>
            <a:r>
              <a:rPr lang="ru-RU" sz="1200" b="1" dirty="0" smtClean="0"/>
              <a:t>Для регистрации следует Отправить название компании, фамилии участников</a:t>
            </a:r>
            <a:r>
              <a:rPr lang="en-US" sz="1200" b="1" dirty="0" smtClean="0"/>
              <a:t> </a:t>
            </a:r>
            <a:r>
              <a:rPr lang="ru-RU" sz="1200" b="1" dirty="0" smtClean="0"/>
              <a:t>Гостевой Екатерине </a:t>
            </a:r>
            <a:r>
              <a:rPr lang="en-US" sz="1200" b="1" dirty="0" smtClean="0">
                <a:hlinkClick r:id="rId4"/>
              </a:rPr>
              <a:t>Ekaterina.Gosteva@canon.ru</a:t>
            </a:r>
            <a:r>
              <a:rPr lang="ru-RU" sz="1200" b="1" dirty="0" smtClean="0"/>
              <a:t>   </a:t>
            </a:r>
            <a:r>
              <a:rPr lang="ru-RU" sz="1200" dirty="0"/>
              <a:t>Со стороны компании может принять участие несколько человек. </a:t>
            </a:r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1200" b="1" dirty="0"/>
              <a:t/>
            </a:r>
            <a:br>
              <a:rPr lang="en-US" sz="1200" b="1" dirty="0"/>
            </a:br>
            <a:r>
              <a:rPr lang="ru-RU" sz="1200" dirty="0"/>
              <a:t/>
            </a:r>
            <a:br>
              <a:rPr lang="ru-RU" sz="1200" dirty="0"/>
            </a:br>
            <a:r>
              <a:rPr lang="ru-RU" sz="1200" dirty="0" smtClean="0"/>
              <a:t> </a:t>
            </a:r>
            <a:endParaRPr lang="ru-RU" sz="1200" dirty="0"/>
          </a:p>
        </p:txBody>
      </p:sp>
      <p:sp>
        <p:nvSpPr>
          <p:cNvPr id="3" name="TextBox 2"/>
          <p:cNvSpPr txBox="1"/>
          <p:nvPr/>
        </p:nvSpPr>
        <p:spPr>
          <a:xfrm>
            <a:off x="1275127" y="507533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ru-RU" sz="1600" dirty="0" smtClean="0"/>
          </a:p>
        </p:txBody>
      </p:sp>
    </p:spTree>
    <p:extLst>
      <p:ext uri="{BB962C8B-B14F-4D97-AF65-F5344CB8AC3E}">
        <p14:creationId xmlns:p14="http://schemas.microsoft.com/office/powerpoint/2010/main" val="29408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kv6T0Nx53U62xuuctF66xA"/>
</p:tagLst>
</file>

<file path=ppt/theme/theme1.xml><?xml version="1.0" encoding="utf-8"?>
<a:theme xmlns:a="http://schemas.openxmlformats.org/drawingml/2006/main" name="Canon Dark Grey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3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4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5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6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7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2_Canon Light Grey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anon Light Grey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8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9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10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1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12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3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14_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Canon Dark Grey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anon Deep Blue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Canon Deep Orange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Canon Yellow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Canon Deep Pink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Canon White">
  <a:themeElements>
    <a:clrScheme name="Canon">
      <a:dk1>
        <a:sysClr val="windowText" lastClr="000000"/>
      </a:dk1>
      <a:lt1>
        <a:sysClr val="window" lastClr="FFFFFF"/>
      </a:lt1>
      <a:dk2>
        <a:srgbClr val="4B4F54"/>
      </a:dk2>
      <a:lt2>
        <a:srgbClr val="D0D3D4"/>
      </a:lt2>
      <a:accent1>
        <a:srgbClr val="00B2C0"/>
      </a:accent1>
      <a:accent2>
        <a:srgbClr val="A2AD00"/>
      </a:accent2>
      <a:accent3>
        <a:srgbClr val="006FB4"/>
      </a:accent3>
      <a:accent4>
        <a:srgbClr val="EC7A08"/>
      </a:accent4>
      <a:accent5>
        <a:srgbClr val="FECB00"/>
      </a:accent5>
      <a:accent6>
        <a:srgbClr val="A31A7E"/>
      </a:accent6>
      <a:hlink>
        <a:srgbClr val="0000FF"/>
      </a:hlink>
      <a:folHlink>
        <a:srgbClr val="800080"/>
      </a:folHlink>
    </a:clrScheme>
    <a:fontScheme name="Cano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600" dirty="0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78126E2DAFE74CA633D74339EFEB7D" ma:contentTypeVersion="0" ma:contentTypeDescription="Create a new document." ma:contentTypeScope="" ma:versionID="e90ac7bfb07622bf6e9d60f98f5c9a9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A391590E-18E5-4FE9-9E2F-D0AB71EA3B7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7AFBE8-B24B-4D85-8D93-47C0DDAAD5C9}">
  <ds:schemaRefs>
    <ds:schemaRef ds:uri="http://www.w3.org/XML/1998/namespace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11986565-6943-4E40-9649-66A46B5D3D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non 16x9 CAS PowerPoint Template</Template>
  <TotalTime>11662</TotalTime>
  <Words>12</Words>
  <Application>Microsoft Office PowerPoint</Application>
  <PresentationFormat>On-screen Show (16:9)</PresentationFormat>
  <Paragraphs>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6" baseType="lpstr">
      <vt:lpstr>ＭＳ Ｐゴシック</vt:lpstr>
      <vt:lpstr>Arial</vt:lpstr>
      <vt:lpstr>Calibri</vt:lpstr>
      <vt:lpstr>Calibri Light</vt:lpstr>
      <vt:lpstr>Century Gothic</vt:lpstr>
      <vt:lpstr>DendaNew</vt:lpstr>
      <vt:lpstr>Canon Dark Grey</vt:lpstr>
      <vt:lpstr>Canon Light Grey</vt:lpstr>
      <vt:lpstr>Office Theme</vt:lpstr>
      <vt:lpstr>Office Theme</vt:lpstr>
      <vt:lpstr>Canon Deep Blue</vt:lpstr>
      <vt:lpstr>Canon Deep Orange</vt:lpstr>
      <vt:lpstr>Canon Yellow</vt:lpstr>
      <vt:lpstr>Canon Deep Pink</vt:lpstr>
      <vt:lpstr>Canon White</vt:lpstr>
      <vt:lpstr>デザインの設定</vt:lpstr>
      <vt:lpstr>Office Theme</vt:lpstr>
      <vt:lpstr>2_Canon Deep Pink</vt:lpstr>
      <vt:lpstr>3_Canon Deep Pink</vt:lpstr>
      <vt:lpstr>4_Canon Deep Pink</vt:lpstr>
      <vt:lpstr>5_Canon Deep Pink</vt:lpstr>
      <vt:lpstr>1_Canon Deep Pink</vt:lpstr>
      <vt:lpstr>6_Canon Deep Pink</vt:lpstr>
      <vt:lpstr>7_Canon Deep Pink</vt:lpstr>
      <vt:lpstr>2_Canon Light Grey</vt:lpstr>
      <vt:lpstr>8_Canon Deep Pink</vt:lpstr>
      <vt:lpstr>9_Canon Deep Pink</vt:lpstr>
      <vt:lpstr>10_Canon Deep Pink</vt:lpstr>
      <vt:lpstr>11_Canon Deep Pink</vt:lpstr>
      <vt:lpstr>12_Canon Deep Pink</vt:lpstr>
      <vt:lpstr>13_Canon Deep Pink</vt:lpstr>
      <vt:lpstr>14_Canon Deep Pink</vt:lpstr>
      <vt:lpstr>1_Canon Dark Grey</vt:lpstr>
      <vt:lpstr>think-cell Slide</vt:lpstr>
      <vt:lpstr>Семинар по печатающей технике Canon  в Екатеринбурге  24 августа, 2016 года</vt:lpstr>
      <vt:lpstr>Уважаемые партнеры!  Приглашаем Вас на семинар, посвящённый печатающей струйной и лазерной технике Canon PIXMA, I-Sensys, MAXIFY, который состоится в г. Екатеринбург,  24 августа 2016г.   В рамках семинара ВЫ сможете узнать о преимуществах и возможностях бизнеса с печатающей техникой Canon Познакомиться с новым ассортиментом, который был выпущен в 2016 году Разобраться в общей стратегии Canon по продвижению печатающей техники в России Узнать о текущих рыночных тенденциях и планах компании Canon  Лично задать интересующие вопросы и поделиться опытом с представителями компании: как отдела продаж, так и продуктового маркетинга Принять участие в демонстрации новых печатающих устройств  Дата мероприятия: 24 августа, 2016 года  Место проведения: DoubleTree by Hilton Hotel Ekaterinburg, зал Москва    просп. Ленина, 9A г. Екатеринбург  http://www.hilton.ru/hotels/doubletree-by-hilton-ekaterinburg/#location-and-transport    Время: 14.00 – 19.00   Регистрация на мероприятие является обязательной!   Для регистрации следует Отправить название компании, фамилии участников Гостевой Екатерине Ekaterina.Gosteva@canon.ru   Со стороны компании может принять участие несколько человек.       </vt:lpstr>
    </vt:vector>
  </TitlesOfParts>
  <Company>Canon Europ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rris, P. - Peter -</dc:creator>
  <cp:lastModifiedBy>Yakhira, M. - Maria -</cp:lastModifiedBy>
  <cp:revision>979</cp:revision>
  <cp:lastPrinted>2016-05-11T08:47:10Z</cp:lastPrinted>
  <dcterms:created xsi:type="dcterms:W3CDTF">2014-12-22T10:59:58Z</dcterms:created>
  <dcterms:modified xsi:type="dcterms:W3CDTF">2016-08-12T10:5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78126E2DAFE74CA633D74339EFEB7D</vt:lpwstr>
  </property>
</Properties>
</file>